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3" r:id="rId3"/>
    <p:sldMasterId id="2147483708" r:id="rId4"/>
    <p:sldMasterId id="2147483713" r:id="rId5"/>
    <p:sldMasterId id="2147483718" r:id="rId6"/>
    <p:sldMasterId id="2147483723" r:id="rId7"/>
    <p:sldMasterId id="2147483728" r:id="rId8"/>
  </p:sldMasterIdLst>
  <p:notesMasterIdLst>
    <p:notesMasterId r:id="rId33"/>
  </p:notesMasterIdLst>
  <p:sldIdLst>
    <p:sldId id="3343" r:id="rId9"/>
    <p:sldId id="3346" r:id="rId10"/>
    <p:sldId id="2145705568" r:id="rId11"/>
    <p:sldId id="2145705566" r:id="rId12"/>
    <p:sldId id="2147375019" r:id="rId13"/>
    <p:sldId id="2147375017" r:id="rId14"/>
    <p:sldId id="2145705874" r:id="rId15"/>
    <p:sldId id="2145705878" r:id="rId16"/>
    <p:sldId id="2145705879" r:id="rId17"/>
    <p:sldId id="2145705900" r:id="rId18"/>
    <p:sldId id="2147375020" r:id="rId19"/>
    <p:sldId id="2145705872" r:id="rId20"/>
    <p:sldId id="2145705907" r:id="rId21"/>
    <p:sldId id="2147375014" r:id="rId22"/>
    <p:sldId id="2147375021" r:id="rId23"/>
    <p:sldId id="2147375000" r:id="rId24"/>
    <p:sldId id="2147375004" r:id="rId25"/>
    <p:sldId id="2147375005" r:id="rId26"/>
    <p:sldId id="2147375006" r:id="rId27"/>
    <p:sldId id="2147375007" r:id="rId28"/>
    <p:sldId id="2147375025" r:id="rId29"/>
    <p:sldId id="2145705889" r:id="rId30"/>
    <p:sldId id="2147375027" r:id="rId31"/>
    <p:sldId id="2147375026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Harvey" initials="JH" lastIdx="1" clrIdx="0">
    <p:extLst>
      <p:ext uri="{19B8F6BF-5375-455C-9EA6-DF929625EA0E}">
        <p15:presenceInfo xmlns:p15="http://schemas.microsoft.com/office/powerpoint/2012/main" userId="S::james.harvey@biogen.com::68a43cb0-f35d-4fa8-9cb6-3d55224d9d12" providerId="AD"/>
      </p:ext>
    </p:extLst>
  </p:cmAuthor>
  <p:cmAuthor id="2" name="Jessica Hurt" initials="JH" lastIdx="9" clrIdx="1"/>
  <p:cmAuthor id="3" name="Joon Lee" initials="JL" lastIdx="3" clrIdx="2">
    <p:extLst>
      <p:ext uri="{19B8F6BF-5375-455C-9EA6-DF929625EA0E}">
        <p15:presenceInfo xmlns:p15="http://schemas.microsoft.com/office/powerpoint/2012/main" userId="S::joon.lee@biogen.com::7e5fc75c-1f8e-45c2-9a04-b1b0fcc5e4eb" providerId="AD"/>
      </p:ext>
    </p:extLst>
  </p:cmAuthor>
  <p:cmAuthor id="4" name="Catherine Nezich" initials="CN" lastIdx="1" clrIdx="3">
    <p:extLst>
      <p:ext uri="{19B8F6BF-5375-455C-9EA6-DF929625EA0E}">
        <p15:presenceInfo xmlns:p15="http://schemas.microsoft.com/office/powerpoint/2012/main" userId="S::catherine.nezich@biogen.com::65923c0c-432e-4ae4-9bdf-aa1bccb570b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3F"/>
    <a:srgbClr val="0432FF"/>
    <a:srgbClr val="E8ECF4"/>
    <a:srgbClr val="CCD6E7"/>
    <a:srgbClr val="2573BA"/>
    <a:srgbClr val="B3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99"/>
    <p:restoredTop sz="91451"/>
  </p:normalViewPr>
  <p:slideViewPr>
    <p:cSldViewPr snapToGrid="0">
      <p:cViewPr varScale="1">
        <p:scale>
          <a:sx n="123" d="100"/>
          <a:sy n="123" d="100"/>
        </p:scale>
        <p:origin x="3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94C50-2C83-4B4D-A7B8-94AB37EE4450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58DA1-CAF4-4F9B-98DF-FEB1FCF342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73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346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75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jpe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5.jpeg"/><Relationship Id="rId4" Type="http://schemas.openxmlformats.org/officeDocument/2006/relationships/image" Target="../media/image1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42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png"/><Relationship Id="rId5" Type="http://schemas.microsoft.com/office/2007/relationships/hdphoto" Target="../media/hdphoto4.wdp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3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Relationship Id="rId6" Type="http://schemas.microsoft.com/office/2007/relationships/hdphoto" Target="../media/hdphoto5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4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7.wdp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8.wdp"/><Relationship Id="rId5" Type="http://schemas.openxmlformats.org/officeDocument/2006/relationships/image" Target="../media/image2.png"/><Relationship Id="rId4" Type="http://schemas.openxmlformats.org/officeDocument/2006/relationships/image" Target="../media/image48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microsoft.com/office/2007/relationships/hdphoto" Target="../media/hdphoto9.wdp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3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41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3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1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png"/><Relationship Id="rId5" Type="http://schemas.microsoft.com/office/2007/relationships/hdphoto" Target="../media/hdphoto12.wdp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Relationship Id="rId6" Type="http://schemas.microsoft.com/office/2007/relationships/hdphoto" Target="../media/hdphoto13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41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0.wdp"/><Relationship Id="rId4" Type="http://schemas.openxmlformats.org/officeDocument/2006/relationships/image" Target="../media/image2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7.xml"/><Relationship Id="rId6" Type="http://schemas.microsoft.com/office/2007/relationships/hdphoto" Target="../media/hdphoto15.wdp"/><Relationship Id="rId5" Type="http://schemas.openxmlformats.org/officeDocument/2006/relationships/image" Target="../media/image2.png"/><Relationship Id="rId4" Type="http://schemas.openxmlformats.org/officeDocument/2006/relationships/image" Target="../media/image6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.png"/><Relationship Id="rId5" Type="http://schemas.microsoft.com/office/2007/relationships/hdphoto" Target="../media/hdphoto16.wdp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4.png"/><Relationship Id="rId7" Type="http://schemas.microsoft.com/office/2007/relationships/hdphoto" Target="../media/hdphoto1.wdp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.png"/><Relationship Id="rId5" Type="http://schemas.openxmlformats.org/officeDocument/2006/relationships/image" Target="../media/image37.png"/><Relationship Id="rId4" Type="http://schemas.microsoft.com/office/2007/relationships/hdphoto" Target="../media/hdphoto17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4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19.wdp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3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0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png"/><Relationship Id="rId5" Type="http://schemas.microsoft.com/office/2007/relationships/hdphoto" Target="../media/hdphoto21.wdp"/><Relationship Id="rId4" Type="http://schemas.openxmlformats.org/officeDocument/2006/relationships/image" Target="../media/image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7" Type="http://schemas.openxmlformats.org/officeDocument/2006/relationships/image" Target="../media/image3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8.xml"/><Relationship Id="rId6" Type="http://schemas.microsoft.com/office/2007/relationships/hdphoto" Target="../media/hdphoto22.wdp"/><Relationship Id="rId5" Type="http://schemas.openxmlformats.org/officeDocument/2006/relationships/image" Target="../media/image2.png"/><Relationship Id="rId4" Type="http://schemas.openxmlformats.org/officeDocument/2006/relationships/image" Target="../media/image3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72A38-F9A5-CD4B-B593-00755101EE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8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B66E5-D4B9-D746-85E7-0817EB68C9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0" name="Picture Placeholder 18">
            <a:extLst>
              <a:ext uri="{FF2B5EF4-FFF2-40B4-BE49-F238E27FC236}">
                <a16:creationId xmlns:a16="http://schemas.microsoft.com/office/drawing/2014/main" id="{AE594129-E530-F54E-9822-E2641DC6872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31973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BC72F3AF-B475-9647-BF03-4666650AC56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9033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427285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999B462-8110-C04D-8321-DCB913BE4F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B0442C-D9C3-A343-AAD1-F64589F881FB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24D327-0137-A14F-91A6-81F24F500E41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99FD2B-996E-C14A-8339-186D9D02356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8C38A4-5DB3-7F42-8F69-BEE62127E4DD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8E3D9F-B934-114C-AD73-8E92FF9CB02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C30C9E37-B9FE-0F42-B76C-6E186674CF14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A10D2-95E2-C548-B241-ADD6FA609B2D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3EDC0C-BF79-9247-8C59-72F49284B7F1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222FDD-37C5-874F-B0FB-DC01939B746B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70BB1F-C180-E241-999F-5159168E3AB2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C6A555-418A-F246-BECF-87BD8BF403E0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B422DF-FB66-5347-9CA5-0A6ABE5575A6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14A02377-76B4-CE4A-9605-AADDCDDA9A7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C6C3176-E04A-704F-9946-5117FA2DDAA8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2F63343-0F10-A944-8401-4B5A164DF19C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C502309-6D68-024F-A888-317FD4D8D711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C284CC-6CE7-3448-B393-82C337C07389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1F3C5FBC-F6C1-624B-8EDE-991E5D69275F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D76BA32-E630-D749-A400-0EBDAD25157D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D1D29C1-5F9D-FD41-8F12-28A5FA03BE64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E8CAB2-F6C9-9344-9E7B-84908FFD33E1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D62A20-EDAB-4041-9FEA-4A6CCB891A76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CA0A66-64DD-7842-8EA3-24BB6146FDA9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F48AB-C0AD-D048-A68E-91B6D97E4BA4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2B5F933-6C07-3440-A0E1-69303C8437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1" name="Graphic 11">
              <a:extLst>
                <a:ext uri="{FF2B5EF4-FFF2-40B4-BE49-F238E27FC236}">
                  <a16:creationId xmlns:a16="http://schemas.microsoft.com/office/drawing/2014/main" id="{38E4480D-34D0-D14E-9E95-C1D96CC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22A8039-CA81-174F-88E9-1E04AC287FF6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B1FAA66-40C2-FA4D-9861-A670FB9E20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4" name="Graphic 11">
              <a:extLst>
                <a:ext uri="{FF2B5EF4-FFF2-40B4-BE49-F238E27FC236}">
                  <a16:creationId xmlns:a16="http://schemas.microsoft.com/office/drawing/2014/main" id="{A00F4B55-B70E-5444-A1F3-54D8708EE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6DDE80-589F-2D4E-ACDB-71C06D045BC2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02D7C77-0B94-234D-B81C-344D19024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Graphic 11">
              <a:extLst>
                <a:ext uri="{FF2B5EF4-FFF2-40B4-BE49-F238E27FC236}">
                  <a16:creationId xmlns:a16="http://schemas.microsoft.com/office/drawing/2014/main" id="{64797636-B313-434A-B11E-6B4BE42161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B27C9F0-DC95-1642-A622-1198BB7542BD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0CB51CB-74F7-D54B-8C9B-9BEFFD3122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Graphic 11">
              <a:extLst>
                <a:ext uri="{FF2B5EF4-FFF2-40B4-BE49-F238E27FC236}">
                  <a16:creationId xmlns:a16="http://schemas.microsoft.com/office/drawing/2014/main" id="{0757571A-1DE2-F348-A948-9B54E96C0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BE41FB1-D516-4B4F-BE72-89A27108FC24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264332D-928D-F646-9FD3-AA595A58C5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3" name="Graphic 11">
              <a:extLst>
                <a:ext uri="{FF2B5EF4-FFF2-40B4-BE49-F238E27FC236}">
                  <a16:creationId xmlns:a16="http://schemas.microsoft.com/office/drawing/2014/main" id="{F6BFCB76-7DF8-1049-BE91-2C060E946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20F577E-5020-874E-84B0-DBED96A48BEB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8644C68-96EA-0541-9E12-92349C444B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Graphic 11">
              <a:extLst>
                <a:ext uri="{FF2B5EF4-FFF2-40B4-BE49-F238E27FC236}">
                  <a16:creationId xmlns:a16="http://schemas.microsoft.com/office/drawing/2014/main" id="{A7AC9006-2B98-7F44-839A-48686CA9B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B09030-FFB8-4844-BF98-F10280FB4D35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876CD1-764C-B647-80FC-7EE0212A8F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9" name="Graphic 11">
              <a:extLst>
                <a:ext uri="{FF2B5EF4-FFF2-40B4-BE49-F238E27FC236}">
                  <a16:creationId xmlns:a16="http://schemas.microsoft.com/office/drawing/2014/main" id="{790BD232-4327-864E-8E29-5825D04F92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733DA-3CB7-5E46-96D8-110E0F6365C4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06DCBAB1-8AE5-1943-A579-28499178F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2" name="Graphic 11">
              <a:extLst>
                <a:ext uri="{FF2B5EF4-FFF2-40B4-BE49-F238E27FC236}">
                  <a16:creationId xmlns:a16="http://schemas.microsoft.com/office/drawing/2014/main" id="{41C04BD4-93AC-B740-885F-B11D4591A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FE985-5D92-CC48-96BC-4FF175A26BD4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A113BB8-9615-F84D-A7B7-F7E8579A0C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5" name="Graphic 11">
              <a:extLst>
                <a:ext uri="{FF2B5EF4-FFF2-40B4-BE49-F238E27FC236}">
                  <a16:creationId xmlns:a16="http://schemas.microsoft.com/office/drawing/2014/main" id="{A4A2F667-F3D6-8249-821F-FAA7029AF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695C4F-38D0-1049-A0AB-91E3219F1129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E12F901-5416-8148-BB16-FA16FFED05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8" name="Graphic 11">
              <a:extLst>
                <a:ext uri="{FF2B5EF4-FFF2-40B4-BE49-F238E27FC236}">
                  <a16:creationId xmlns:a16="http://schemas.microsoft.com/office/drawing/2014/main" id="{3B44EE68-D9AF-EE48-8573-0D9F9FB3CD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D740595-E811-864C-986D-D4C0D34047F1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39A3CC05-F813-B74D-8951-14357ADF7A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Graphic 11">
              <a:extLst>
                <a:ext uri="{FF2B5EF4-FFF2-40B4-BE49-F238E27FC236}">
                  <a16:creationId xmlns:a16="http://schemas.microsoft.com/office/drawing/2014/main" id="{39247C19-159D-5247-8E2A-71FD7D001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ACC394F-9DC4-964B-930E-3026AAF7DAA2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67F606D-8AF0-7C44-BB6E-E1AA23535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4" name="Graphic 11">
              <a:extLst>
                <a:ext uri="{FF2B5EF4-FFF2-40B4-BE49-F238E27FC236}">
                  <a16:creationId xmlns:a16="http://schemas.microsoft.com/office/drawing/2014/main" id="{BD6BD840-00CE-D64C-8438-A35B319B2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94C6643-6BBC-5949-8EF3-0DD1737934CC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B44A684-4ABA-2845-8DAC-B16711E176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7" name="Graphic 11">
              <a:extLst>
                <a:ext uri="{FF2B5EF4-FFF2-40B4-BE49-F238E27FC236}">
                  <a16:creationId xmlns:a16="http://schemas.microsoft.com/office/drawing/2014/main" id="{42CCB901-D147-384D-8391-E9C9E99623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1253EEEA-98F9-F24E-8B3C-831AC642B61D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21B5CDD9-8045-274C-8F62-44946AEECA33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FE7A2F59-B470-3446-B582-477764DC3F8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5179DF51-3BD2-EC45-816E-2082313D0D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BA521378-3E48-A749-9448-87F4BBDF9F6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03FCD8E7-DDD4-6149-B6EA-E6A08C78DD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A4DF7954-FC0E-B943-872C-2BF92A21AF0D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0445D38C-F717-4D4A-A975-1F5D122D1E8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47923A8E-9E66-7F4D-8781-CCBF0F11352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A807AAB4-7D38-8749-A3A8-9DC774C7140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A35E9005-8BE0-4C4F-B7DD-CC86B7D2A8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2F590A45-CA68-B941-B458-96CDCDD6857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Picture Placeholder 67">
            <a:extLst>
              <a:ext uri="{FF2B5EF4-FFF2-40B4-BE49-F238E27FC236}">
                <a16:creationId xmlns:a16="http://schemas.microsoft.com/office/drawing/2014/main" id="{9D18AC67-CAF4-8445-BA90-C8CBB4B6E90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C02D659B-EDAA-AF44-83C8-D458AB70B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68899" y="1907479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29E3ABCE-1905-054D-AE33-B99DB271A1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1479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EF9639B7-3A62-A34A-8C27-1FC8AA9DCF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2823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AE43484-C007-CD45-887E-8EDA1B42A3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2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45E222CC-2B87-E44D-982E-FB34E0E2DB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979028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3819E673-5616-2149-9AE3-3292F0F2BCD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54975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3" name="Text Placeholder 83">
            <a:extLst>
              <a:ext uri="{FF2B5EF4-FFF2-40B4-BE49-F238E27FC236}">
                <a16:creationId xmlns:a16="http://schemas.microsoft.com/office/drawing/2014/main" id="{8F554C34-9BBF-A541-89D9-97E54C89F9E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0924" y="3737627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4" name="Text Placeholder 83">
            <a:extLst>
              <a:ext uri="{FF2B5EF4-FFF2-40B4-BE49-F238E27FC236}">
                <a16:creationId xmlns:a16="http://schemas.microsoft.com/office/drawing/2014/main" id="{E7FD17CB-F4DF-5F49-9995-51FE74116D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31479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5" name="Text Placeholder 83">
            <a:extLst>
              <a:ext uri="{FF2B5EF4-FFF2-40B4-BE49-F238E27FC236}">
                <a16:creationId xmlns:a16="http://schemas.microsoft.com/office/drawing/2014/main" id="{B7BC876C-A31A-CA4D-8AAE-4BA8556B4E5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82823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6" name="Text Placeholder 83">
            <a:extLst>
              <a:ext uri="{FF2B5EF4-FFF2-40B4-BE49-F238E27FC236}">
                <a16:creationId xmlns:a16="http://schemas.microsoft.com/office/drawing/2014/main" id="{5742E852-9D95-2748-9828-9B786742A7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8772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7" name="Text Placeholder 83">
            <a:extLst>
              <a:ext uri="{FF2B5EF4-FFF2-40B4-BE49-F238E27FC236}">
                <a16:creationId xmlns:a16="http://schemas.microsoft.com/office/drawing/2014/main" id="{B67AA0B1-8F0C-5846-A67D-EFAC1FC6B3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9028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8" name="Text Placeholder 83">
            <a:extLst>
              <a:ext uri="{FF2B5EF4-FFF2-40B4-BE49-F238E27FC236}">
                <a16:creationId xmlns:a16="http://schemas.microsoft.com/office/drawing/2014/main" id="{B55F96C8-C0D9-F542-A9A6-B8A7B7023E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54975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9" name="Text Placeholder 83">
            <a:extLst>
              <a:ext uri="{FF2B5EF4-FFF2-40B4-BE49-F238E27FC236}">
                <a16:creationId xmlns:a16="http://schemas.microsoft.com/office/drawing/2014/main" id="{78431463-4631-F443-8913-B0705CC2A0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0924" y="5558756"/>
            <a:ext cx="1828800" cy="609600"/>
          </a:xfrm>
          <a:prstGeom prst="rect">
            <a:avLst/>
          </a:prstGeo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5166467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7F9D7D-4DBE-A14F-AD81-567BE16C29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14572A-F8DA-B445-8F76-F9ACF540C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B914D0-B34A-164F-801B-ECC3FC81FF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F9718D-FF43-4347-8243-4083BC2ECDB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33460AB-24AC-6C4E-82CC-A8C5D193E5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605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DB9B4E4-BFD7-5947-A10A-2DFC2156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4pPr>
            <a:lvl5pPr marL="918610" indent="0">
              <a:buNone/>
              <a:defRPr sz="2133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1A857E-3A8C-0F47-8766-21EF708CB324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  <a:prstGeom prst="rect">
            <a:avLst/>
          </a:prstGeom>
        </p:spPr>
        <p:txBody>
          <a:bodyPr/>
          <a:lstStyle>
            <a:lvl1pPr algn="ctr">
              <a:defRPr sz="2400"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D6A0684-132F-EA40-99F9-7250FDE3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7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2CCD20B-9D2C-A14B-AB10-A1D174CDC89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10853F-17FF-CF4B-B109-05FE4080C7ED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5D4A41-C112-B14F-819C-90777051EEB1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655AE43-B2D1-6241-81E2-F5ACBA14F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856B65-CEF7-2248-90B4-3C5ED22AF9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>
              <a:buClr>
                <a:schemeClr val="accent2"/>
              </a:buClr>
              <a:buFont typeface="Arial" panose="020B0604020202020204" pitchFamily="34" charset="0"/>
              <a:buChar char="•"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D65DD3-5FCE-C244-AFB4-907F2A522FF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534E609-D384-F444-9CA7-21A82D42A3C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  <a:prstGeom prst="rect">
            <a:avLst/>
          </a:prstGeo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9452899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ACFD88-AF70-8249-A510-E82F636415C9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2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5D445D5-F95E-0D4B-A1F3-2F88758550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2946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000D8D-D19B-3F45-8000-0F438AF27B8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3B66F31-FCE2-D24E-8920-EDAFECDA2F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B131A16-0ACA-4445-8C94-D58F1936C33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168D0B-DE5F-9741-BECB-30DAE4463D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69607"/>
            <a:ext cx="5555264" cy="393763"/>
          </a:xfrm>
          <a:prstGeom prst="rect">
            <a:avLst/>
          </a:prstGeom>
          <a:solidFill>
            <a:schemeClr val="accent3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227A141-2A03-E247-B8A5-743A9093F0F0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704BB93-6342-A043-8C9F-67F3F41B6B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53D7A5A-AF27-D848-8B02-4FDEEE6D49BC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533387" indent="-228594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0"/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FBB9B97-9F33-BF40-A363-D7EE7ED79A5E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609585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accent2"/>
              </a:buClr>
              <a:defRPr lang="en-US" sz="2133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2"/>
              </a:buClr>
              <a:buSzPct val="90000"/>
              <a:tabLst/>
              <a:defRPr lang="en-US" sz="1867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1C0D9B6-7D8A-0944-B948-691B37BEA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9783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3C96CC7-5220-1D4C-844C-81E2F6ECEFA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FD27E3C1-22E5-6D46-AAF6-C9A20BCCDC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32BFC33-E028-EC4D-927F-9A20A6B3CD6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2A271686-1945-9447-BF2D-0388A3D3840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6C0DC0B-7EA6-624D-998E-97D8FE6A837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6455418-CCA2-3D4F-93F8-24EE60A3637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99149417-1319-C649-AC4A-7E41C1FEC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00B67C2-572F-D641-B534-A84F2E9B2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337B7-ABFC-024D-B139-17A476FBFBAE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F2D05A9-F2EA-DC47-8ADD-55EB6FDA54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51FAD33-FDC2-2047-9DB8-51BBAFE597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4615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52" name="Text Placeholder 29">
            <a:extLst>
              <a:ext uri="{FF2B5EF4-FFF2-40B4-BE49-F238E27FC236}">
                <a16:creationId xmlns:a16="http://schemas.microsoft.com/office/drawing/2014/main" id="{FC7D0908-8125-E94B-8CB6-312DDE6E2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3" name="Text Placeholder 29">
            <a:extLst>
              <a:ext uri="{FF2B5EF4-FFF2-40B4-BE49-F238E27FC236}">
                <a16:creationId xmlns:a16="http://schemas.microsoft.com/office/drawing/2014/main" id="{50E86878-F16F-5843-9652-323A631DE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4" name="Text Placeholder 29">
            <a:extLst>
              <a:ext uri="{FF2B5EF4-FFF2-40B4-BE49-F238E27FC236}">
                <a16:creationId xmlns:a16="http://schemas.microsoft.com/office/drawing/2014/main" id="{1D0E07CA-0980-AB46-B8BF-7022361347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29">
            <a:extLst>
              <a:ext uri="{FF2B5EF4-FFF2-40B4-BE49-F238E27FC236}">
                <a16:creationId xmlns:a16="http://schemas.microsoft.com/office/drawing/2014/main" id="{E8547F32-18C7-B043-9507-345C40101B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56" name="Picture Placeholder 39">
            <a:extLst>
              <a:ext uri="{FF2B5EF4-FFF2-40B4-BE49-F238E27FC236}">
                <a16:creationId xmlns:a16="http://schemas.microsoft.com/office/drawing/2014/main" id="{E7376D01-B4B4-7649-922C-517BE86874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972E0E2-63F5-5341-BCB6-A221C90071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7D3708F-18EE-8D4A-BC17-04BECF0EF31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59" name="Picture 5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78BCA02D-F3E2-9B43-AD10-582346EE34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60" name="Picture Placeholder 33">
            <a:extLst>
              <a:ext uri="{FF2B5EF4-FFF2-40B4-BE49-F238E27FC236}">
                <a16:creationId xmlns:a16="http://schemas.microsoft.com/office/drawing/2014/main" id="{299EB0AB-F23E-7C4E-8089-7DDFA9BD04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61" name="Picture 6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55F82F7-32C4-B048-BFCF-18C4B0CE58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62" name="Picture Placeholder 37">
            <a:extLst>
              <a:ext uri="{FF2B5EF4-FFF2-40B4-BE49-F238E27FC236}">
                <a16:creationId xmlns:a16="http://schemas.microsoft.com/office/drawing/2014/main" id="{F67F9DDE-AFB2-2B41-8669-A4D85BDA57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3B09EA3-ABA0-744B-AECE-823BB93D3268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9234B23-563A-3D40-B231-C7E272EDD43F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8C8C-4606-CB41-8EC6-508BC370086D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748F369-7E39-544B-AE0A-72169F0805B4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3B47E63-5D2B-994A-A313-F7FF63D01A4A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90E80010-9784-024E-AA30-A1B1623710C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87FA8EB7-92F9-0645-9DA9-9CA1DBAA55F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F3FE57DD-148C-DA49-BF9E-1A57601FABC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71" name="Picture Placeholder 3">
            <a:extLst>
              <a:ext uri="{FF2B5EF4-FFF2-40B4-BE49-F238E27FC236}">
                <a16:creationId xmlns:a16="http://schemas.microsoft.com/office/drawing/2014/main" id="{21F53B32-25A9-A64C-98B5-AC4C423E2F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32452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C26A81D1-99EE-D342-80DE-CE0E346E5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E0199A8-E610-6C40-8141-0BF434411D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16911-FB39-1D40-98FE-F4BB03DAB2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20" name="Picture 19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ECA15B4D-4A2F-1C41-BF71-0575092937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2400" dirty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15" name="Picture Placeholder 43">
            <a:extLst>
              <a:ext uri="{FF2B5EF4-FFF2-40B4-BE49-F238E27FC236}">
                <a16:creationId xmlns:a16="http://schemas.microsoft.com/office/drawing/2014/main" id="{DB2AAFDB-C46E-164B-99C4-A36388CEAB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27" name="Picture 2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0ECED5C0-D8B1-4A4D-A3A1-B95932A186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587F6D2-C5BE-EF4D-A429-5037DA1C0C6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C1B8F0C-0697-2047-9A4F-10FE36D103A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4179F2-0BFB-CC40-91F3-129C75E9F3E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D9221DF1-85B3-474B-A9B7-E02F31C2103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6A5CCB92-7B24-BF47-B257-9C459ADACF5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BA4F945A-DA04-604C-B487-55CCBF4E539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26096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380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9">
            <a:extLst>
              <a:ext uri="{FF2B5EF4-FFF2-40B4-BE49-F238E27FC236}">
                <a16:creationId xmlns:a16="http://schemas.microsoft.com/office/drawing/2014/main" id="{4F175E74-BAFD-5448-97CD-A29A05C54E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4C3170A-BDAC-CD43-8A0A-960B1F5CD8ED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4" name="Picture Placeholder 15">
            <a:extLst>
              <a:ext uri="{FF2B5EF4-FFF2-40B4-BE49-F238E27FC236}">
                <a16:creationId xmlns:a16="http://schemas.microsoft.com/office/drawing/2014/main" id="{56E20203-00D4-D448-8FA6-7BAB1676C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87A0DC1-3AF1-4F49-9139-7779EB826D8C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3" name="Picture Placeholder 11">
            <a:extLst>
              <a:ext uri="{FF2B5EF4-FFF2-40B4-BE49-F238E27FC236}">
                <a16:creationId xmlns:a16="http://schemas.microsoft.com/office/drawing/2014/main" id="{B71455F8-897C-2E4F-8F04-4B9D87E6C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2400" dirty="0"/>
            </a:lvl1pPr>
            <a:lvl2pPr>
              <a:defRPr lang="en-US" sz="2133" dirty="0"/>
            </a:lvl2pPr>
            <a:lvl3pPr>
              <a:defRPr lang="en-US" sz="2133" dirty="0"/>
            </a:lvl3pPr>
            <a:lvl4pPr>
              <a:defRPr lang="en-US" sz="2133" dirty="0"/>
            </a:lvl4pPr>
            <a:lvl5pPr>
              <a:defRPr lang="en-US" sz="2133" dirty="0"/>
            </a:lvl5pPr>
          </a:lstStyle>
          <a:p>
            <a:pPr marL="0" lvl="0" indent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8CFC3-5D8D-FF48-B92F-234CED59291C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0009D01-E784-7940-9433-7787157B28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E2BC70-C993-7948-93D5-A605975A49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742007F0-84C9-AF45-8377-8360D6C186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B5A49D-6C8B-9848-BCFC-67FB92C8A7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7BB4615-9821-934F-A145-72E41384C05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602B7B9-B3ED-A249-99C0-709FBCC2162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6322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EDCF7D-9269-AA4E-9E5E-747A6D311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938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3CCD4CA-6D90-9848-A904-57579E8937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46054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172BA-80A0-084C-8D77-BD786CD6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E0F6A47-6FCF-2D45-8749-73DE73FEAC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FC96775-B94D-464E-985A-D996A2423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1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EBAD76-79B4-B24A-A3B8-64F088119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88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A98224A-A606-0940-AAA5-115D6EA56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5E92E6-DAB9-7244-A329-56AAC4FDC3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30694"/>
            <a:ext cx="11425767" cy="46451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5037295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4B36BC7-8B75-BA47-9787-5E536ADC8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501B10-55DF-614B-B761-F203A01BC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39"/>
            <a:ext cx="11425209" cy="4527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449758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>
            <a:lvl1pPr>
              <a:defRPr>
                <a:solidFill>
                  <a:srgbClr val="0088D0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0718C526-12AA-2C44-880E-5AA773E61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73775D3-73E3-5A4A-9F2B-35707D56A1E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77947070-1902-C34A-B363-7AFB1DCEB3D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A845606-4C09-7B47-91AE-7D6055144D4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456185D-FF19-8541-A068-B5DD062C2BE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624D225B-9F04-714D-AFF8-F149729D74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8EFE069-4171-7244-B877-AFFD789EEB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084C68E-CF7B-324C-87D6-F4823074796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B8D0F78-50C4-F543-85FF-5BA65DE2A34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82832329-63A7-BF45-B050-766E70E968B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9CB38CAF-FA73-6C49-BE7B-46CA8F390F4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96EC02E-5ABF-854A-B653-AADDB48C56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C77E619A-6B1D-3E4E-A2EF-17185F85FA2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58CA01A-723C-4046-9758-E6D93FF9B69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B50C03F9-CEA7-0C43-81D4-6673168D9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F043B21C-F56F-C64E-956F-1915E3F9039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1E7CAC7-0962-7643-9283-7380AF6F07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C512AA8-C01C-3F41-B49B-C4C3580BD86C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2D12588-8A5D-334B-8F94-8D2D02EAD531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27D1026-758A-494E-AFEA-83D3CE9B1CAB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39C2D25-61EE-5346-B40A-89CD93341643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5EC1DF7-360B-CE41-BB7A-CD718A64DD07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6156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ABCD22AB-6F7C-1C47-8F78-ED2F31A4F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29" name="Picture 28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55F80DF2-2C7A-8E42-9978-D60FFA22FC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3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A4D451-F160-0F47-8F77-06A32516BBA7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F9463EF-9D7C-0A4A-8389-C22E191F91D0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E1D40C-E2A7-824A-859A-4B83D68B8D7B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6BCE3CD-1BFB-664F-969A-D6E734ADFE88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7480F62-FC4A-E547-9A0D-5EADFD64173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37045EF-07B4-1745-BF2C-8B00E0B3C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476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6474A75-975C-C14B-A0BF-25D004BB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6" y="2581166"/>
            <a:ext cx="8584331" cy="1241901"/>
          </a:xfrm>
        </p:spPr>
        <p:txBody>
          <a:bodyPr anchor="b"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4C856CF-5711-BC49-87A2-F530B5D1F8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395" y="3823067"/>
            <a:ext cx="8584331" cy="4537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133" b="0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D12DACD-8D0B-FF4C-ABCE-7D5781547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5050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5CF604-34C9-BA49-8682-AE83E66FF0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9A5F0A93-DDA2-CA43-87E6-674F563C46E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lIns="548640" tIns="1554480" rIns="548640" anchor="t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40A7247D-8C2F-114A-A640-A6AF30C5E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FB5FDDB-EAF4-5E4A-B3B3-F8B563BC4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9FBCD83-D776-ED41-BB3E-499EB816E7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46F1190-CD47-3D40-95D9-E2DA169CCC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20F73A88-34AE-CC4C-B195-1BD1596AD4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85B07419-8644-D144-89A6-579DC545BED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0AE02EE-0700-FB4F-B004-7ACEF807D93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240B4B18-80DB-0344-91D5-EB540AA4090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018994FB-CFAE-1544-9E61-EBC346C999A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2" name="Text Placeholder 8">
            <a:extLst>
              <a:ext uri="{FF2B5EF4-FFF2-40B4-BE49-F238E27FC236}">
                <a16:creationId xmlns:a16="http://schemas.microsoft.com/office/drawing/2014/main" id="{56CC4A48-ED46-BB4B-9F5E-903CC0D308F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FB13F24D-D9F9-B84E-8AFD-006D838E841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ADDF6AF-0465-4548-B678-4242216F64B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5" name="Text Placeholder 8">
            <a:extLst>
              <a:ext uri="{FF2B5EF4-FFF2-40B4-BE49-F238E27FC236}">
                <a16:creationId xmlns:a16="http://schemas.microsoft.com/office/drawing/2014/main" id="{B47F2F2E-2976-644A-8E7E-FDEF0198E9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49969AFC-945B-5540-B9B8-BF4145575ED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C8F6B19D-EC29-FF44-941F-D028E53581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8" name="Text Placeholder 8">
            <a:extLst>
              <a:ext uri="{FF2B5EF4-FFF2-40B4-BE49-F238E27FC236}">
                <a16:creationId xmlns:a16="http://schemas.microsoft.com/office/drawing/2014/main" id="{77745609-E787-014D-B431-531C78E0397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09" name="Text Placeholder 4">
            <a:extLst>
              <a:ext uri="{FF2B5EF4-FFF2-40B4-BE49-F238E27FC236}">
                <a16:creationId xmlns:a16="http://schemas.microsoft.com/office/drawing/2014/main" id="{96C1DC25-FF23-D847-9B98-4D2463A82B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lang="en-US" sz="1600" b="0" i="0" kern="120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tex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106641-6D9B-D941-956A-24431AC9E58E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66C5349-0268-9445-8AAE-E015F0A89D04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F1B7D15-356F-ED44-8303-D76701C665A7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A24C4B8-73F5-FF4B-B189-A27E47E442D9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BAB988-18E7-C442-91F6-E73ED40F7B5A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463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WITH 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7547628" cy="68435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7547628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88D5C2-25B4-C947-B4BE-01EFB89FF1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0F55473-9E48-E149-A5F9-16BF6F2703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56130"/>
            <a:ext cx="3670048" cy="470884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1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7638021-80B5-D04D-B67E-AE9E2897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BB2F8D-794C-D348-B4A7-45821D24A14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139033" y="-926"/>
            <a:ext cx="4052491" cy="6265900"/>
          </a:xfrm>
          <a:prstGeom prst="rect">
            <a:avLst/>
          </a:prstGeom>
        </p:spPr>
      </p:pic>
      <p:pic>
        <p:nvPicPr>
          <p:cNvPr id="12" name="Picture Placeholder 18">
            <a:extLst>
              <a:ext uri="{FF2B5EF4-FFF2-40B4-BE49-F238E27FC236}">
                <a16:creationId xmlns:a16="http://schemas.microsoft.com/office/drawing/2014/main" id="{9331E0C1-D574-7E4D-9A61-CF3767AA085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799177" y="789"/>
            <a:ext cx="2392824" cy="6262468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66BE86B-E2A9-5A43-88C4-4CDADA11936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138559" y="-926"/>
            <a:ext cx="4053443" cy="6266823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3225251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anizational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D1F5A-540A-B449-841D-25E5770F49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FFBBA-7440-884E-A9E4-91EDB2155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5294A0C0-53A2-754C-99C3-99016F35DB85}"/>
              </a:ext>
            </a:extLst>
          </p:cNvPr>
          <p:cNvSpPr/>
          <p:nvPr/>
        </p:nvSpPr>
        <p:spPr>
          <a:xfrm>
            <a:off x="1210102" y="4468020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AC3795-AFA1-A340-8E77-572AA6BA595C}"/>
              </a:ext>
            </a:extLst>
          </p:cNvPr>
          <p:cNvCxnSpPr>
            <a:cxnSpLocks/>
          </p:cNvCxnSpPr>
          <p:nvPr/>
        </p:nvCxnSpPr>
        <p:spPr>
          <a:xfrm>
            <a:off x="3197223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EC7E0C-CB52-3347-B33E-E02474308BBD}"/>
              </a:ext>
            </a:extLst>
          </p:cNvPr>
          <p:cNvCxnSpPr>
            <a:cxnSpLocks/>
          </p:cNvCxnSpPr>
          <p:nvPr/>
        </p:nvCxnSpPr>
        <p:spPr>
          <a:xfrm>
            <a:off x="5145879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7B49D8-EDBB-5F4D-B638-F41121EABDBA}"/>
              </a:ext>
            </a:extLst>
          </p:cNvPr>
          <p:cNvCxnSpPr>
            <a:cxnSpLocks/>
          </p:cNvCxnSpPr>
          <p:nvPr/>
        </p:nvCxnSpPr>
        <p:spPr>
          <a:xfrm>
            <a:off x="7045324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31E869-DE20-1846-AFFB-92FB1D850DD9}"/>
              </a:ext>
            </a:extLst>
          </p:cNvPr>
          <p:cNvCxnSpPr>
            <a:cxnSpLocks/>
          </p:cNvCxnSpPr>
          <p:nvPr/>
        </p:nvCxnSpPr>
        <p:spPr>
          <a:xfrm>
            <a:off x="8969375" y="4471426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FEE37B-458D-004F-B07C-AB1F960070D5}"/>
              </a:ext>
            </a:extLst>
          </p:cNvPr>
          <p:cNvCxnSpPr>
            <a:cxnSpLocks/>
          </p:cNvCxnSpPr>
          <p:nvPr/>
        </p:nvCxnSpPr>
        <p:spPr>
          <a:xfrm>
            <a:off x="6083300" y="2310345"/>
            <a:ext cx="0" cy="2157676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646C6AE-7347-5D45-9A60-008D59B3BC10}"/>
              </a:ext>
            </a:extLst>
          </p:cNvPr>
          <p:cNvSpPr/>
          <p:nvPr/>
        </p:nvSpPr>
        <p:spPr>
          <a:xfrm>
            <a:off x="5168900" y="1907479"/>
            <a:ext cx="1828800" cy="609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933" i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2B28FF-E0EF-0448-B466-93DCA3A9807C}"/>
              </a:ext>
            </a:extLst>
          </p:cNvPr>
          <p:cNvSpPr/>
          <p:nvPr/>
        </p:nvSpPr>
        <p:spPr>
          <a:xfrm>
            <a:off x="358772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1067" i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BC5F5-B047-6F4A-BF9E-EE228737AB80}"/>
              </a:ext>
            </a:extLst>
          </p:cNvPr>
          <p:cNvSpPr/>
          <p:nvPr/>
        </p:nvSpPr>
        <p:spPr>
          <a:xfrm>
            <a:off x="8054975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401DBB-BB82-2644-8632-09455EF43AF5}"/>
              </a:ext>
            </a:extLst>
          </p:cNvPr>
          <p:cNvSpPr/>
          <p:nvPr/>
        </p:nvSpPr>
        <p:spPr>
          <a:xfrm>
            <a:off x="2282823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D166-9082-FF4A-B16E-8DFBBA79A0B3}"/>
              </a:ext>
            </a:extLst>
          </p:cNvPr>
          <p:cNvSpPr/>
          <p:nvPr/>
        </p:nvSpPr>
        <p:spPr>
          <a:xfrm>
            <a:off x="4231479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FD7A6F-0BF9-B048-861A-8C79DB22C80A}"/>
              </a:ext>
            </a:extLst>
          </p:cNvPr>
          <p:cNvSpPr/>
          <p:nvPr/>
        </p:nvSpPr>
        <p:spPr>
          <a:xfrm>
            <a:off x="6130924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D103D-907F-8040-9477-73BC400E544B}"/>
              </a:ext>
            </a:extLst>
          </p:cNvPr>
          <p:cNvSpPr/>
          <p:nvPr/>
        </p:nvSpPr>
        <p:spPr>
          <a:xfrm>
            <a:off x="9979028" y="3737627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78C3E80F-FA49-BE48-ABE1-DF7C6AECC0E0}"/>
              </a:ext>
            </a:extLst>
          </p:cNvPr>
          <p:cNvSpPr/>
          <p:nvPr/>
        </p:nvSpPr>
        <p:spPr>
          <a:xfrm>
            <a:off x="1210102" y="2645242"/>
            <a:ext cx="9744501" cy="333021"/>
          </a:xfrm>
          <a:custGeom>
            <a:avLst/>
            <a:gdLst>
              <a:gd name="connsiteX0" fmla="*/ 0 w 1425844"/>
              <a:gd name="connsiteY0" fmla="*/ 302217 h 302217"/>
              <a:gd name="connsiteX1" fmla="*/ 0 w 1425844"/>
              <a:gd name="connsiteY1" fmla="*/ 0 h 302217"/>
              <a:gd name="connsiteX2" fmla="*/ 1425844 w 1425844"/>
              <a:gd name="connsiteY2" fmla="*/ 0 h 302217"/>
              <a:gd name="connsiteX3" fmla="*/ 1425844 w 1425844"/>
              <a:gd name="connsiteY3" fmla="*/ 286719 h 302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5844" h="302217">
                <a:moveTo>
                  <a:pt x="0" y="302217"/>
                </a:moveTo>
                <a:lnTo>
                  <a:pt x="0" y="0"/>
                </a:lnTo>
                <a:lnTo>
                  <a:pt x="1425844" y="0"/>
                </a:lnTo>
                <a:lnTo>
                  <a:pt x="1425844" y="286719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1385E08-16DE-5847-966B-F39FAC019DE3}"/>
              </a:ext>
            </a:extLst>
          </p:cNvPr>
          <p:cNvCxnSpPr>
            <a:cxnSpLocks/>
          </p:cNvCxnSpPr>
          <p:nvPr/>
        </p:nvCxnSpPr>
        <p:spPr>
          <a:xfrm>
            <a:off x="3197223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3385725-9166-9842-9302-16E1E81B3F03}"/>
              </a:ext>
            </a:extLst>
          </p:cNvPr>
          <p:cNvCxnSpPr>
            <a:cxnSpLocks/>
          </p:cNvCxnSpPr>
          <p:nvPr/>
        </p:nvCxnSpPr>
        <p:spPr>
          <a:xfrm>
            <a:off x="5145879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39BA6-1B2E-D049-B42E-9742D9CE1F69}"/>
              </a:ext>
            </a:extLst>
          </p:cNvPr>
          <p:cNvCxnSpPr>
            <a:cxnSpLocks/>
          </p:cNvCxnSpPr>
          <p:nvPr/>
        </p:nvCxnSpPr>
        <p:spPr>
          <a:xfrm>
            <a:off x="7045324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DBD6B99-A235-E448-A516-A252EE77D341}"/>
              </a:ext>
            </a:extLst>
          </p:cNvPr>
          <p:cNvCxnSpPr>
            <a:cxnSpLocks/>
          </p:cNvCxnSpPr>
          <p:nvPr/>
        </p:nvCxnSpPr>
        <p:spPr>
          <a:xfrm>
            <a:off x="8969375" y="2648647"/>
            <a:ext cx="0" cy="255653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7EEF870-3D1D-2C45-9588-9EE6E40753E0}"/>
              </a:ext>
            </a:extLst>
          </p:cNvPr>
          <p:cNvSpPr/>
          <p:nvPr/>
        </p:nvSpPr>
        <p:spPr>
          <a:xfrm>
            <a:off x="358772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43575-5468-A543-A98D-14499E84B382}"/>
              </a:ext>
            </a:extLst>
          </p:cNvPr>
          <p:cNvSpPr/>
          <p:nvPr/>
        </p:nvSpPr>
        <p:spPr>
          <a:xfrm>
            <a:off x="8054975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538AE7-812A-194E-BEF8-5E8D10C01557}"/>
              </a:ext>
            </a:extLst>
          </p:cNvPr>
          <p:cNvSpPr/>
          <p:nvPr/>
        </p:nvSpPr>
        <p:spPr>
          <a:xfrm>
            <a:off x="2282823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7EB88F-619A-B64B-A890-7A9D02EADD88}"/>
              </a:ext>
            </a:extLst>
          </p:cNvPr>
          <p:cNvSpPr/>
          <p:nvPr/>
        </p:nvSpPr>
        <p:spPr>
          <a:xfrm>
            <a:off x="4231479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6FB7492-0DDF-9F42-99F6-3FAC53DBC27C}"/>
              </a:ext>
            </a:extLst>
          </p:cNvPr>
          <p:cNvSpPr/>
          <p:nvPr/>
        </p:nvSpPr>
        <p:spPr>
          <a:xfrm>
            <a:off x="6130924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6BA25-0D62-A740-A54F-9B9AF8C833D6}"/>
              </a:ext>
            </a:extLst>
          </p:cNvPr>
          <p:cNvSpPr/>
          <p:nvPr/>
        </p:nvSpPr>
        <p:spPr>
          <a:xfrm>
            <a:off x="9979028" y="5558756"/>
            <a:ext cx="18288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  <a:spcBef>
                <a:spcPts val="133"/>
              </a:spcBef>
            </a:pPr>
            <a:endParaRPr lang="en-US" sz="800" i="1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FF7242-274F-B44B-A7E5-86577B8E441B}"/>
              </a:ext>
            </a:extLst>
          </p:cNvPr>
          <p:cNvGrpSpPr/>
          <p:nvPr/>
        </p:nvGrpSpPr>
        <p:grpSpPr>
          <a:xfrm>
            <a:off x="5656580" y="964037"/>
            <a:ext cx="853440" cy="853440"/>
            <a:chOff x="4243624" y="656353"/>
            <a:chExt cx="640080" cy="6400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282B30E-C82D-6D47-A82E-A5DC1BAD03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0" name="Graphic 11">
              <a:extLst>
                <a:ext uri="{FF2B5EF4-FFF2-40B4-BE49-F238E27FC236}">
                  <a16:creationId xmlns:a16="http://schemas.microsoft.com/office/drawing/2014/main" id="{EFC937D1-D238-EB4A-A5C0-6FF2B6EFC3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52D69A8-B2C2-5F49-80CE-CF44860B1F29}"/>
              </a:ext>
            </a:extLst>
          </p:cNvPr>
          <p:cNvGrpSpPr/>
          <p:nvPr/>
        </p:nvGrpSpPr>
        <p:grpSpPr>
          <a:xfrm>
            <a:off x="4719159" y="2767437"/>
            <a:ext cx="853440" cy="853440"/>
            <a:chOff x="4243624" y="656353"/>
            <a:chExt cx="640080" cy="64008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24AA2AB-2C86-4E4B-92FE-8ED78BDEF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3" name="Graphic 11">
              <a:extLst>
                <a:ext uri="{FF2B5EF4-FFF2-40B4-BE49-F238E27FC236}">
                  <a16:creationId xmlns:a16="http://schemas.microsoft.com/office/drawing/2014/main" id="{42D8839E-E4BB-5941-898C-524A7CF88E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74FD05-29C5-A649-B891-CBCEDA7985B0}"/>
              </a:ext>
            </a:extLst>
          </p:cNvPr>
          <p:cNvGrpSpPr/>
          <p:nvPr/>
        </p:nvGrpSpPr>
        <p:grpSpPr>
          <a:xfrm>
            <a:off x="846452" y="2767437"/>
            <a:ext cx="853440" cy="853440"/>
            <a:chOff x="4243624" y="656353"/>
            <a:chExt cx="640080" cy="64008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BEF0F6F-3AFC-5541-B9A8-3F20DA88D6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Graphic 11">
              <a:extLst>
                <a:ext uri="{FF2B5EF4-FFF2-40B4-BE49-F238E27FC236}">
                  <a16:creationId xmlns:a16="http://schemas.microsoft.com/office/drawing/2014/main" id="{B6A24DBA-1E7C-AE45-9B1F-80FA55B8A4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6F824B-B005-8945-BF4A-410CD4F60E8E}"/>
              </a:ext>
            </a:extLst>
          </p:cNvPr>
          <p:cNvGrpSpPr/>
          <p:nvPr/>
        </p:nvGrpSpPr>
        <p:grpSpPr>
          <a:xfrm>
            <a:off x="2770503" y="2767437"/>
            <a:ext cx="853440" cy="853440"/>
            <a:chOff x="4243624" y="656353"/>
            <a:chExt cx="640080" cy="64008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4844F18-4FE9-4F4C-8B43-0DB6B5C596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Graphic 11">
              <a:extLst>
                <a:ext uri="{FF2B5EF4-FFF2-40B4-BE49-F238E27FC236}">
                  <a16:creationId xmlns:a16="http://schemas.microsoft.com/office/drawing/2014/main" id="{DD4A2A0B-7C31-D743-91BA-C94EEC2B12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104728-DD53-504A-ADF1-0E0BF63C776B}"/>
              </a:ext>
            </a:extLst>
          </p:cNvPr>
          <p:cNvGrpSpPr/>
          <p:nvPr/>
        </p:nvGrpSpPr>
        <p:grpSpPr>
          <a:xfrm>
            <a:off x="10466708" y="2767437"/>
            <a:ext cx="853440" cy="853440"/>
            <a:chOff x="4243624" y="656353"/>
            <a:chExt cx="640080" cy="640080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829B63E-E612-C945-9B6D-A70BEE2BE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2" name="Graphic 11">
              <a:extLst>
                <a:ext uri="{FF2B5EF4-FFF2-40B4-BE49-F238E27FC236}">
                  <a16:creationId xmlns:a16="http://schemas.microsoft.com/office/drawing/2014/main" id="{C47D23E7-A14E-474F-8E6D-5B0D65289C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F7C5E5B-9E4B-704A-832E-0B4A31F291D2}"/>
              </a:ext>
            </a:extLst>
          </p:cNvPr>
          <p:cNvGrpSpPr/>
          <p:nvPr/>
        </p:nvGrpSpPr>
        <p:grpSpPr>
          <a:xfrm>
            <a:off x="6618604" y="2767437"/>
            <a:ext cx="853440" cy="853440"/>
            <a:chOff x="4243624" y="656353"/>
            <a:chExt cx="640080" cy="64008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86CA766-5F55-DE46-8694-B86831441B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5" name="Graphic 11">
              <a:extLst>
                <a:ext uri="{FF2B5EF4-FFF2-40B4-BE49-F238E27FC236}">
                  <a16:creationId xmlns:a16="http://schemas.microsoft.com/office/drawing/2014/main" id="{23A3117E-4CA4-B74E-B5B5-3A2871811E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69E661D-7BB0-2349-A1AC-2FE7F75D2F16}"/>
              </a:ext>
            </a:extLst>
          </p:cNvPr>
          <p:cNvGrpSpPr/>
          <p:nvPr/>
        </p:nvGrpSpPr>
        <p:grpSpPr>
          <a:xfrm>
            <a:off x="8542655" y="2767437"/>
            <a:ext cx="853440" cy="853440"/>
            <a:chOff x="4243624" y="656353"/>
            <a:chExt cx="640080" cy="64008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6697E5E-E908-BF42-BBE3-130BFEFC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" name="Graphic 11">
              <a:extLst>
                <a:ext uri="{FF2B5EF4-FFF2-40B4-BE49-F238E27FC236}">
                  <a16:creationId xmlns:a16="http://schemas.microsoft.com/office/drawing/2014/main" id="{6A100CDF-790E-ED43-8E61-54143928A5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A437866-B701-6948-9DFC-F9B080C4711A}"/>
              </a:ext>
            </a:extLst>
          </p:cNvPr>
          <p:cNvGrpSpPr/>
          <p:nvPr/>
        </p:nvGrpSpPr>
        <p:grpSpPr>
          <a:xfrm>
            <a:off x="4719159" y="4596237"/>
            <a:ext cx="853440" cy="853440"/>
            <a:chOff x="4243624" y="656353"/>
            <a:chExt cx="640080" cy="64008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403788-5BE1-1645-B4FA-58C992EBCC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1" name="Graphic 11">
              <a:extLst>
                <a:ext uri="{FF2B5EF4-FFF2-40B4-BE49-F238E27FC236}">
                  <a16:creationId xmlns:a16="http://schemas.microsoft.com/office/drawing/2014/main" id="{17FC3B35-8506-234A-BB30-7AB5DB725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C6DB9B0-9A0B-7343-BB40-7651122A208C}"/>
              </a:ext>
            </a:extLst>
          </p:cNvPr>
          <p:cNvGrpSpPr/>
          <p:nvPr/>
        </p:nvGrpSpPr>
        <p:grpSpPr>
          <a:xfrm>
            <a:off x="846452" y="4596237"/>
            <a:ext cx="853440" cy="853440"/>
            <a:chOff x="4243624" y="656353"/>
            <a:chExt cx="640080" cy="64008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75FCF36-9030-F445-BB1C-2F51B92262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4" name="Graphic 11">
              <a:extLst>
                <a:ext uri="{FF2B5EF4-FFF2-40B4-BE49-F238E27FC236}">
                  <a16:creationId xmlns:a16="http://schemas.microsoft.com/office/drawing/2014/main" id="{6661CB87-9C55-E142-BED5-FC333460D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953AF61-9DE9-A945-B748-0E94D4503672}"/>
              </a:ext>
            </a:extLst>
          </p:cNvPr>
          <p:cNvGrpSpPr/>
          <p:nvPr/>
        </p:nvGrpSpPr>
        <p:grpSpPr>
          <a:xfrm>
            <a:off x="2770503" y="4596237"/>
            <a:ext cx="853440" cy="853440"/>
            <a:chOff x="4243624" y="656353"/>
            <a:chExt cx="640080" cy="6400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B961033-8FB9-3443-9199-885054741F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7" name="Graphic 11">
              <a:extLst>
                <a:ext uri="{FF2B5EF4-FFF2-40B4-BE49-F238E27FC236}">
                  <a16:creationId xmlns:a16="http://schemas.microsoft.com/office/drawing/2014/main" id="{13C1D20A-B6E6-B249-B20A-354FFF66E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FCD0B4F-363E-5745-871A-FE2CD9FFD6C6}"/>
              </a:ext>
            </a:extLst>
          </p:cNvPr>
          <p:cNvGrpSpPr/>
          <p:nvPr/>
        </p:nvGrpSpPr>
        <p:grpSpPr>
          <a:xfrm>
            <a:off x="10466708" y="4596237"/>
            <a:ext cx="853440" cy="853440"/>
            <a:chOff x="4243624" y="656353"/>
            <a:chExt cx="640080" cy="6400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3B4F8D7-CF6E-B742-AEC0-916D75EF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Graphic 11">
              <a:extLst>
                <a:ext uri="{FF2B5EF4-FFF2-40B4-BE49-F238E27FC236}">
                  <a16:creationId xmlns:a16="http://schemas.microsoft.com/office/drawing/2014/main" id="{C744F88C-4685-AF48-AF1E-639103C4B0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44463-C1A8-8145-BC24-FE8B61A904DC}"/>
              </a:ext>
            </a:extLst>
          </p:cNvPr>
          <p:cNvGrpSpPr/>
          <p:nvPr/>
        </p:nvGrpSpPr>
        <p:grpSpPr>
          <a:xfrm>
            <a:off x="6618604" y="4596237"/>
            <a:ext cx="853440" cy="853440"/>
            <a:chOff x="4243624" y="656353"/>
            <a:chExt cx="640080" cy="64008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E73E4CFC-83E4-DE4F-A4B4-F0F8D31E1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3" name="Graphic 11">
              <a:extLst>
                <a:ext uri="{FF2B5EF4-FFF2-40B4-BE49-F238E27FC236}">
                  <a16:creationId xmlns:a16="http://schemas.microsoft.com/office/drawing/2014/main" id="{9298A576-39C5-5941-BD22-297467A194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A36417C-096B-9844-9E16-B6FAE2074971}"/>
              </a:ext>
            </a:extLst>
          </p:cNvPr>
          <p:cNvGrpSpPr/>
          <p:nvPr/>
        </p:nvGrpSpPr>
        <p:grpSpPr>
          <a:xfrm>
            <a:off x="8542655" y="4596237"/>
            <a:ext cx="853440" cy="853440"/>
            <a:chOff x="4243624" y="656353"/>
            <a:chExt cx="640080" cy="64008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A7597D-2436-D947-9BE3-7EA31A78C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3624" y="656353"/>
              <a:ext cx="640080" cy="6400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6" name="Graphic 11">
              <a:extLst>
                <a:ext uri="{FF2B5EF4-FFF2-40B4-BE49-F238E27FC236}">
                  <a16:creationId xmlns:a16="http://schemas.microsoft.com/office/drawing/2014/main" id="{5053372A-1C0E-4E41-88E0-D332985FCD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8703" y="775225"/>
              <a:ext cx="369923" cy="402336"/>
            </a:xfrm>
            <a:custGeom>
              <a:avLst/>
              <a:gdLst>
                <a:gd name="connsiteX0" fmla="*/ 143627 w 158948"/>
                <a:gd name="connsiteY0" fmla="*/ 106291 h 172875"/>
                <a:gd name="connsiteX1" fmla="*/ 139960 w 158948"/>
                <a:gd name="connsiteY1" fmla="*/ 104458 h 172875"/>
                <a:gd name="connsiteX2" fmla="*/ 127736 w 158948"/>
                <a:gd name="connsiteY2" fmla="*/ 99571 h 172875"/>
                <a:gd name="connsiteX3" fmla="*/ 127736 w 158948"/>
                <a:gd name="connsiteY3" fmla="*/ 99571 h 172875"/>
                <a:gd name="connsiteX4" fmla="*/ 124680 w 158948"/>
                <a:gd name="connsiteY4" fmla="*/ 98350 h 172875"/>
                <a:gd name="connsiteX5" fmla="*/ 116735 w 158948"/>
                <a:gd name="connsiteY5" fmla="*/ 95906 h 172875"/>
                <a:gd name="connsiteX6" fmla="*/ 106956 w 158948"/>
                <a:gd name="connsiteY6" fmla="*/ 93463 h 172875"/>
                <a:gd name="connsiteX7" fmla="*/ 101456 w 158948"/>
                <a:gd name="connsiteY7" fmla="*/ 83689 h 172875"/>
                <a:gd name="connsiteX8" fmla="*/ 124069 w 158948"/>
                <a:gd name="connsiteY8" fmla="*/ 44593 h 172875"/>
                <a:gd name="connsiteX9" fmla="*/ 79453 w 158948"/>
                <a:gd name="connsiteY9" fmla="*/ 0 h 172875"/>
                <a:gd name="connsiteX10" fmla="*/ 34837 w 158948"/>
                <a:gd name="connsiteY10" fmla="*/ 44593 h 172875"/>
                <a:gd name="connsiteX11" fmla="*/ 57451 w 158948"/>
                <a:gd name="connsiteY11" fmla="*/ 83689 h 172875"/>
                <a:gd name="connsiteX12" fmla="*/ 51950 w 158948"/>
                <a:gd name="connsiteY12" fmla="*/ 94074 h 172875"/>
                <a:gd name="connsiteX13" fmla="*/ 42171 w 158948"/>
                <a:gd name="connsiteY13" fmla="*/ 95906 h 172875"/>
                <a:gd name="connsiteX14" fmla="*/ 34226 w 158948"/>
                <a:gd name="connsiteY14" fmla="*/ 98350 h 172875"/>
                <a:gd name="connsiteX15" fmla="*/ 28726 w 158948"/>
                <a:gd name="connsiteY15" fmla="*/ 100182 h 172875"/>
                <a:gd name="connsiteX16" fmla="*/ 28726 w 158948"/>
                <a:gd name="connsiteY16" fmla="*/ 100182 h 172875"/>
                <a:gd name="connsiteX17" fmla="*/ 23225 w 158948"/>
                <a:gd name="connsiteY17" fmla="*/ 102626 h 172875"/>
                <a:gd name="connsiteX18" fmla="*/ 23225 w 158948"/>
                <a:gd name="connsiteY18" fmla="*/ 102626 h 172875"/>
                <a:gd name="connsiteX19" fmla="*/ 15891 w 158948"/>
                <a:gd name="connsiteY19" fmla="*/ 106291 h 172875"/>
                <a:gd name="connsiteX20" fmla="*/ 0 w 158948"/>
                <a:gd name="connsiteY20" fmla="*/ 132558 h 172875"/>
                <a:gd name="connsiteX21" fmla="*/ 0 w 158948"/>
                <a:gd name="connsiteY21" fmla="*/ 140499 h 172875"/>
                <a:gd name="connsiteX22" fmla="*/ 10390 w 158948"/>
                <a:gd name="connsiteY22" fmla="*/ 158215 h 172875"/>
                <a:gd name="connsiteX23" fmla="*/ 79453 w 158948"/>
                <a:gd name="connsiteY23" fmla="*/ 172875 h 172875"/>
                <a:gd name="connsiteX24" fmla="*/ 148517 w 158948"/>
                <a:gd name="connsiteY24" fmla="*/ 158215 h 172875"/>
                <a:gd name="connsiteX25" fmla="*/ 158907 w 158948"/>
                <a:gd name="connsiteY25" fmla="*/ 140499 h 172875"/>
                <a:gd name="connsiteX26" fmla="*/ 158907 w 158948"/>
                <a:gd name="connsiteY26" fmla="*/ 132558 h 172875"/>
                <a:gd name="connsiteX27" fmla="*/ 143627 w 158948"/>
                <a:gd name="connsiteY27" fmla="*/ 106291 h 172875"/>
                <a:gd name="connsiteX28" fmla="*/ 40338 w 158948"/>
                <a:gd name="connsiteY28" fmla="*/ 45204 h 172875"/>
                <a:gd name="connsiteX29" fmla="*/ 80064 w 158948"/>
                <a:gd name="connsiteY29" fmla="*/ 5498 h 172875"/>
                <a:gd name="connsiteX30" fmla="*/ 119791 w 158948"/>
                <a:gd name="connsiteY30" fmla="*/ 45204 h 172875"/>
                <a:gd name="connsiteX31" fmla="*/ 80064 w 158948"/>
                <a:gd name="connsiteY31" fmla="*/ 84911 h 172875"/>
                <a:gd name="connsiteX32" fmla="*/ 40338 w 158948"/>
                <a:gd name="connsiteY32" fmla="*/ 45204 h 172875"/>
                <a:gd name="connsiteX33" fmla="*/ 54395 w 158948"/>
                <a:gd name="connsiteY33" fmla="*/ 100182 h 172875"/>
                <a:gd name="connsiteX34" fmla="*/ 54395 w 158948"/>
                <a:gd name="connsiteY34" fmla="*/ 100182 h 172875"/>
                <a:gd name="connsiteX35" fmla="*/ 54395 w 158948"/>
                <a:gd name="connsiteY35" fmla="*/ 100182 h 172875"/>
                <a:gd name="connsiteX36" fmla="*/ 55006 w 158948"/>
                <a:gd name="connsiteY36" fmla="*/ 100182 h 172875"/>
                <a:gd name="connsiteX37" fmla="*/ 55617 w 158948"/>
                <a:gd name="connsiteY37" fmla="*/ 99571 h 172875"/>
                <a:gd name="connsiteX38" fmla="*/ 55617 w 158948"/>
                <a:gd name="connsiteY38" fmla="*/ 99571 h 172875"/>
                <a:gd name="connsiteX39" fmla="*/ 62951 w 158948"/>
                <a:gd name="connsiteY39" fmla="*/ 87354 h 172875"/>
                <a:gd name="connsiteX40" fmla="*/ 79453 w 158948"/>
                <a:gd name="connsiteY40" fmla="*/ 90408 h 172875"/>
                <a:gd name="connsiteX41" fmla="*/ 95955 w 158948"/>
                <a:gd name="connsiteY41" fmla="*/ 87354 h 172875"/>
                <a:gd name="connsiteX42" fmla="*/ 103289 w 158948"/>
                <a:gd name="connsiteY42" fmla="*/ 99571 h 172875"/>
                <a:gd name="connsiteX43" fmla="*/ 103289 w 158948"/>
                <a:gd name="connsiteY43" fmla="*/ 99571 h 172875"/>
                <a:gd name="connsiteX44" fmla="*/ 103901 w 158948"/>
                <a:gd name="connsiteY44" fmla="*/ 100182 h 172875"/>
                <a:gd name="connsiteX45" fmla="*/ 104512 w 158948"/>
                <a:gd name="connsiteY45" fmla="*/ 100182 h 172875"/>
                <a:gd name="connsiteX46" fmla="*/ 104512 w 158948"/>
                <a:gd name="connsiteY46" fmla="*/ 100182 h 172875"/>
                <a:gd name="connsiteX47" fmla="*/ 108179 w 158948"/>
                <a:gd name="connsiteY47" fmla="*/ 100793 h 172875"/>
                <a:gd name="connsiteX48" fmla="*/ 79453 w 158948"/>
                <a:gd name="connsiteY48" fmla="*/ 119730 h 172875"/>
                <a:gd name="connsiteX49" fmla="*/ 50728 w 158948"/>
                <a:gd name="connsiteY49" fmla="*/ 101404 h 172875"/>
                <a:gd name="connsiteX50" fmla="*/ 54395 w 158948"/>
                <a:gd name="connsiteY50" fmla="*/ 100182 h 172875"/>
                <a:gd name="connsiteX51" fmla="*/ 146072 w 158948"/>
                <a:gd name="connsiteY51" fmla="*/ 153939 h 172875"/>
                <a:gd name="connsiteX52" fmla="*/ 79453 w 158948"/>
                <a:gd name="connsiteY52" fmla="*/ 167988 h 172875"/>
                <a:gd name="connsiteX53" fmla="*/ 12835 w 158948"/>
                <a:gd name="connsiteY53" fmla="*/ 153939 h 172875"/>
                <a:gd name="connsiteX54" fmla="*/ 5500 w 158948"/>
                <a:gd name="connsiteY54" fmla="*/ 141110 h 172875"/>
                <a:gd name="connsiteX55" fmla="*/ 5500 w 158948"/>
                <a:gd name="connsiteY55" fmla="*/ 133169 h 172875"/>
                <a:gd name="connsiteX56" fmla="*/ 18335 w 158948"/>
                <a:gd name="connsiteY56" fmla="*/ 111789 h 172875"/>
                <a:gd name="connsiteX57" fmla="*/ 35448 w 158948"/>
                <a:gd name="connsiteY57" fmla="*/ 104458 h 172875"/>
                <a:gd name="connsiteX58" fmla="*/ 43394 w 158948"/>
                <a:gd name="connsiteY58" fmla="*/ 102015 h 172875"/>
                <a:gd name="connsiteX59" fmla="*/ 44616 w 158948"/>
                <a:gd name="connsiteY59" fmla="*/ 102015 h 172875"/>
                <a:gd name="connsiteX60" fmla="*/ 78842 w 158948"/>
                <a:gd name="connsiteY60" fmla="*/ 125228 h 172875"/>
                <a:gd name="connsiteX61" fmla="*/ 113068 w 158948"/>
                <a:gd name="connsiteY61" fmla="*/ 102015 h 172875"/>
                <a:gd name="connsiteX62" fmla="*/ 114291 w 158948"/>
                <a:gd name="connsiteY62" fmla="*/ 102626 h 172875"/>
                <a:gd name="connsiteX63" fmla="*/ 122236 w 158948"/>
                <a:gd name="connsiteY63" fmla="*/ 105069 h 172875"/>
                <a:gd name="connsiteX64" fmla="*/ 139349 w 158948"/>
                <a:gd name="connsiteY64" fmla="*/ 112400 h 172875"/>
                <a:gd name="connsiteX65" fmla="*/ 152184 w 158948"/>
                <a:gd name="connsiteY65" fmla="*/ 133780 h 172875"/>
                <a:gd name="connsiteX66" fmla="*/ 152184 w 158948"/>
                <a:gd name="connsiteY66" fmla="*/ 141721 h 172875"/>
                <a:gd name="connsiteX67" fmla="*/ 146072 w 158948"/>
                <a:gd name="connsiteY67" fmla="*/ 153939 h 17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58948" h="172875">
                  <a:moveTo>
                    <a:pt x="143627" y="106291"/>
                  </a:moveTo>
                  <a:cubicBezTo>
                    <a:pt x="142405" y="105680"/>
                    <a:pt x="141182" y="105069"/>
                    <a:pt x="139960" y="104458"/>
                  </a:cubicBezTo>
                  <a:cubicBezTo>
                    <a:pt x="136904" y="102626"/>
                    <a:pt x="127736" y="99571"/>
                    <a:pt x="127736" y="99571"/>
                  </a:cubicBezTo>
                  <a:lnTo>
                    <a:pt x="127736" y="99571"/>
                  </a:lnTo>
                  <a:cubicBezTo>
                    <a:pt x="126514" y="98961"/>
                    <a:pt x="125903" y="98961"/>
                    <a:pt x="124680" y="98350"/>
                  </a:cubicBezTo>
                  <a:cubicBezTo>
                    <a:pt x="121625" y="97128"/>
                    <a:pt x="119180" y="96517"/>
                    <a:pt x="116735" y="95906"/>
                  </a:cubicBezTo>
                  <a:cubicBezTo>
                    <a:pt x="113679" y="94684"/>
                    <a:pt x="110012" y="94074"/>
                    <a:pt x="106956" y="93463"/>
                  </a:cubicBezTo>
                  <a:cubicBezTo>
                    <a:pt x="104512" y="91019"/>
                    <a:pt x="102678" y="87354"/>
                    <a:pt x="101456" y="83689"/>
                  </a:cubicBezTo>
                  <a:cubicBezTo>
                    <a:pt x="114902" y="75748"/>
                    <a:pt x="124069" y="61698"/>
                    <a:pt x="124069" y="44593"/>
                  </a:cubicBezTo>
                  <a:cubicBezTo>
                    <a:pt x="124069" y="20159"/>
                    <a:pt x="103901" y="0"/>
                    <a:pt x="79453" y="0"/>
                  </a:cubicBezTo>
                  <a:cubicBezTo>
                    <a:pt x="55006" y="0"/>
                    <a:pt x="34837" y="20159"/>
                    <a:pt x="34837" y="44593"/>
                  </a:cubicBezTo>
                  <a:cubicBezTo>
                    <a:pt x="34837" y="61087"/>
                    <a:pt x="44005" y="75748"/>
                    <a:pt x="57451" y="83689"/>
                  </a:cubicBezTo>
                  <a:cubicBezTo>
                    <a:pt x="56229" y="87354"/>
                    <a:pt x="54395" y="91019"/>
                    <a:pt x="51950" y="94074"/>
                  </a:cubicBezTo>
                  <a:cubicBezTo>
                    <a:pt x="45838" y="95295"/>
                    <a:pt x="42171" y="95906"/>
                    <a:pt x="42171" y="95906"/>
                  </a:cubicBezTo>
                  <a:cubicBezTo>
                    <a:pt x="39727" y="96517"/>
                    <a:pt x="37282" y="97128"/>
                    <a:pt x="34226" y="98350"/>
                  </a:cubicBezTo>
                  <a:cubicBezTo>
                    <a:pt x="32392" y="98961"/>
                    <a:pt x="30559" y="99571"/>
                    <a:pt x="28726" y="100182"/>
                  </a:cubicBezTo>
                  <a:cubicBezTo>
                    <a:pt x="28726" y="100182"/>
                    <a:pt x="28726" y="100182"/>
                    <a:pt x="28726" y="100182"/>
                  </a:cubicBezTo>
                  <a:cubicBezTo>
                    <a:pt x="26892" y="100793"/>
                    <a:pt x="25058" y="102015"/>
                    <a:pt x="23225" y="102626"/>
                  </a:cubicBezTo>
                  <a:cubicBezTo>
                    <a:pt x="23225" y="102626"/>
                    <a:pt x="23225" y="102626"/>
                    <a:pt x="23225" y="102626"/>
                  </a:cubicBezTo>
                  <a:cubicBezTo>
                    <a:pt x="20780" y="103847"/>
                    <a:pt x="18335" y="105069"/>
                    <a:pt x="15891" y="106291"/>
                  </a:cubicBezTo>
                  <a:cubicBezTo>
                    <a:pt x="6112" y="111178"/>
                    <a:pt x="0" y="121563"/>
                    <a:pt x="0" y="132558"/>
                  </a:cubicBezTo>
                  <a:lnTo>
                    <a:pt x="0" y="140499"/>
                  </a:lnTo>
                  <a:cubicBezTo>
                    <a:pt x="0" y="147830"/>
                    <a:pt x="4278" y="154549"/>
                    <a:pt x="10390" y="158215"/>
                  </a:cubicBezTo>
                  <a:cubicBezTo>
                    <a:pt x="22614" y="164934"/>
                    <a:pt x="45227" y="172875"/>
                    <a:pt x="79453" y="172875"/>
                  </a:cubicBezTo>
                  <a:cubicBezTo>
                    <a:pt x="113679" y="172875"/>
                    <a:pt x="136293" y="164934"/>
                    <a:pt x="148517" y="158215"/>
                  </a:cubicBezTo>
                  <a:cubicBezTo>
                    <a:pt x="155239" y="154549"/>
                    <a:pt x="158907" y="147830"/>
                    <a:pt x="158907" y="140499"/>
                  </a:cubicBezTo>
                  <a:lnTo>
                    <a:pt x="158907" y="132558"/>
                  </a:lnTo>
                  <a:cubicBezTo>
                    <a:pt x="159518" y="121563"/>
                    <a:pt x="153406" y="111789"/>
                    <a:pt x="143627" y="106291"/>
                  </a:cubicBezTo>
                  <a:close/>
                  <a:moveTo>
                    <a:pt x="40338" y="45204"/>
                  </a:moveTo>
                  <a:cubicBezTo>
                    <a:pt x="40338" y="23213"/>
                    <a:pt x="58062" y="5498"/>
                    <a:pt x="80064" y="5498"/>
                  </a:cubicBezTo>
                  <a:cubicBezTo>
                    <a:pt x="102067" y="5498"/>
                    <a:pt x="119791" y="23213"/>
                    <a:pt x="119791" y="45204"/>
                  </a:cubicBezTo>
                  <a:cubicBezTo>
                    <a:pt x="119791" y="67195"/>
                    <a:pt x="102067" y="84911"/>
                    <a:pt x="80064" y="84911"/>
                  </a:cubicBezTo>
                  <a:cubicBezTo>
                    <a:pt x="58062" y="84911"/>
                    <a:pt x="40338" y="67195"/>
                    <a:pt x="40338" y="45204"/>
                  </a:cubicBezTo>
                  <a:close/>
                  <a:moveTo>
                    <a:pt x="54395" y="100182"/>
                  </a:moveTo>
                  <a:lnTo>
                    <a:pt x="54395" y="100182"/>
                  </a:lnTo>
                  <a:cubicBezTo>
                    <a:pt x="55006" y="100182"/>
                    <a:pt x="55006" y="100182"/>
                    <a:pt x="54395" y="100182"/>
                  </a:cubicBezTo>
                  <a:cubicBezTo>
                    <a:pt x="55006" y="100182"/>
                    <a:pt x="55006" y="100182"/>
                    <a:pt x="55006" y="100182"/>
                  </a:cubicBezTo>
                  <a:lnTo>
                    <a:pt x="55617" y="99571"/>
                  </a:lnTo>
                  <a:cubicBezTo>
                    <a:pt x="55617" y="99571"/>
                    <a:pt x="55617" y="99571"/>
                    <a:pt x="55617" y="99571"/>
                  </a:cubicBezTo>
                  <a:cubicBezTo>
                    <a:pt x="59285" y="95906"/>
                    <a:pt x="61729" y="91630"/>
                    <a:pt x="62951" y="87354"/>
                  </a:cubicBezTo>
                  <a:cubicBezTo>
                    <a:pt x="67841" y="89187"/>
                    <a:pt x="73342" y="90408"/>
                    <a:pt x="79453" y="90408"/>
                  </a:cubicBezTo>
                  <a:cubicBezTo>
                    <a:pt x="85565" y="90408"/>
                    <a:pt x="91066" y="89187"/>
                    <a:pt x="95955" y="87354"/>
                  </a:cubicBezTo>
                  <a:cubicBezTo>
                    <a:pt x="97177" y="91630"/>
                    <a:pt x="99622" y="95906"/>
                    <a:pt x="103289" y="99571"/>
                  </a:cubicBezTo>
                  <a:cubicBezTo>
                    <a:pt x="103289" y="99571"/>
                    <a:pt x="103289" y="99571"/>
                    <a:pt x="103289" y="99571"/>
                  </a:cubicBezTo>
                  <a:cubicBezTo>
                    <a:pt x="103289" y="99571"/>
                    <a:pt x="103901" y="99571"/>
                    <a:pt x="103901" y="100182"/>
                  </a:cubicBezTo>
                  <a:cubicBezTo>
                    <a:pt x="103901" y="100182"/>
                    <a:pt x="104512" y="100182"/>
                    <a:pt x="104512" y="100182"/>
                  </a:cubicBezTo>
                  <a:cubicBezTo>
                    <a:pt x="104512" y="100182"/>
                    <a:pt x="104512" y="100182"/>
                    <a:pt x="104512" y="100182"/>
                  </a:cubicBezTo>
                  <a:cubicBezTo>
                    <a:pt x="105734" y="100182"/>
                    <a:pt x="106956" y="100793"/>
                    <a:pt x="108179" y="100793"/>
                  </a:cubicBezTo>
                  <a:cubicBezTo>
                    <a:pt x="106956" y="111178"/>
                    <a:pt x="94733" y="119730"/>
                    <a:pt x="79453" y="119730"/>
                  </a:cubicBezTo>
                  <a:cubicBezTo>
                    <a:pt x="64174" y="119730"/>
                    <a:pt x="52561" y="111789"/>
                    <a:pt x="50728" y="101404"/>
                  </a:cubicBezTo>
                  <a:cubicBezTo>
                    <a:pt x="51950" y="100182"/>
                    <a:pt x="53173" y="100182"/>
                    <a:pt x="54395" y="100182"/>
                  </a:cubicBezTo>
                  <a:close/>
                  <a:moveTo>
                    <a:pt x="146072" y="153939"/>
                  </a:moveTo>
                  <a:cubicBezTo>
                    <a:pt x="136293" y="159436"/>
                    <a:pt x="114902" y="167988"/>
                    <a:pt x="79453" y="167988"/>
                  </a:cubicBezTo>
                  <a:cubicBezTo>
                    <a:pt x="44616" y="167988"/>
                    <a:pt x="22614" y="159436"/>
                    <a:pt x="12835" y="153939"/>
                  </a:cubicBezTo>
                  <a:cubicBezTo>
                    <a:pt x="8556" y="151495"/>
                    <a:pt x="5500" y="146608"/>
                    <a:pt x="5500" y="141110"/>
                  </a:cubicBezTo>
                  <a:lnTo>
                    <a:pt x="5500" y="133169"/>
                  </a:lnTo>
                  <a:cubicBezTo>
                    <a:pt x="5500" y="124006"/>
                    <a:pt x="10390" y="116065"/>
                    <a:pt x="18335" y="111789"/>
                  </a:cubicBezTo>
                  <a:cubicBezTo>
                    <a:pt x="23836" y="108734"/>
                    <a:pt x="29948" y="106291"/>
                    <a:pt x="35448" y="104458"/>
                  </a:cubicBezTo>
                  <a:cubicBezTo>
                    <a:pt x="38504" y="103237"/>
                    <a:pt x="40949" y="102626"/>
                    <a:pt x="43394" y="102015"/>
                  </a:cubicBezTo>
                  <a:lnTo>
                    <a:pt x="44616" y="102015"/>
                  </a:lnTo>
                  <a:cubicBezTo>
                    <a:pt x="47061" y="114843"/>
                    <a:pt x="61729" y="125228"/>
                    <a:pt x="78842" y="125228"/>
                  </a:cubicBezTo>
                  <a:cubicBezTo>
                    <a:pt x="95955" y="125228"/>
                    <a:pt x="110623" y="114843"/>
                    <a:pt x="113068" y="102015"/>
                  </a:cubicBezTo>
                  <a:cubicBezTo>
                    <a:pt x="113679" y="102015"/>
                    <a:pt x="113679" y="102015"/>
                    <a:pt x="114291" y="102626"/>
                  </a:cubicBezTo>
                  <a:cubicBezTo>
                    <a:pt x="116735" y="103237"/>
                    <a:pt x="119180" y="103847"/>
                    <a:pt x="122236" y="105069"/>
                  </a:cubicBezTo>
                  <a:cubicBezTo>
                    <a:pt x="128348" y="106902"/>
                    <a:pt x="133848" y="109345"/>
                    <a:pt x="139349" y="112400"/>
                  </a:cubicBezTo>
                  <a:cubicBezTo>
                    <a:pt x="147294" y="116676"/>
                    <a:pt x="152184" y="124617"/>
                    <a:pt x="152184" y="133780"/>
                  </a:cubicBezTo>
                  <a:lnTo>
                    <a:pt x="152184" y="141721"/>
                  </a:lnTo>
                  <a:cubicBezTo>
                    <a:pt x="153406" y="146608"/>
                    <a:pt x="150962" y="150884"/>
                    <a:pt x="146072" y="153939"/>
                  </a:cubicBezTo>
                  <a:close/>
                </a:path>
              </a:pathLst>
            </a:custGeom>
            <a:solidFill>
              <a:srgbClr val="2473B9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67" name="Picture Placeholder 67">
            <a:extLst>
              <a:ext uri="{FF2B5EF4-FFF2-40B4-BE49-F238E27FC236}">
                <a16:creationId xmlns:a16="http://schemas.microsoft.com/office/drawing/2014/main" id="{909F285E-FDD5-2B43-8228-77AAD2193307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656580" y="9640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AFD55085-CC49-8A44-9633-C3E117E10361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6452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69" name="Picture Placeholder 67">
            <a:extLst>
              <a:ext uri="{FF2B5EF4-FFF2-40B4-BE49-F238E27FC236}">
                <a16:creationId xmlns:a16="http://schemas.microsoft.com/office/drawing/2014/main" id="{8043F029-F42C-DF40-88F2-92499515E564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770503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hoto</a:t>
            </a:r>
          </a:p>
        </p:txBody>
      </p:sp>
      <p:sp>
        <p:nvSpPr>
          <p:cNvPr id="70" name="Picture Placeholder 67">
            <a:extLst>
              <a:ext uri="{FF2B5EF4-FFF2-40B4-BE49-F238E27FC236}">
                <a16:creationId xmlns:a16="http://schemas.microsoft.com/office/drawing/2014/main" id="{579C37A9-C307-6A4D-90A8-4C9425291B5D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719159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1" name="Picture Placeholder 67">
            <a:extLst>
              <a:ext uri="{FF2B5EF4-FFF2-40B4-BE49-F238E27FC236}">
                <a16:creationId xmlns:a16="http://schemas.microsoft.com/office/drawing/2014/main" id="{C3B6336A-E04E-1D4B-A45E-11F9D2BECD0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618604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2" name="Picture Placeholder 67">
            <a:extLst>
              <a:ext uri="{FF2B5EF4-FFF2-40B4-BE49-F238E27FC236}">
                <a16:creationId xmlns:a16="http://schemas.microsoft.com/office/drawing/2014/main" id="{AE42635E-E289-3045-93CA-F3DD9DF5BE90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542655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3" name="Picture Placeholder 67">
            <a:extLst>
              <a:ext uri="{FF2B5EF4-FFF2-40B4-BE49-F238E27FC236}">
                <a16:creationId xmlns:a16="http://schemas.microsoft.com/office/drawing/2014/main" id="{C6A3ED26-B45D-F649-B87B-EC8D065F3B1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66708" y="27674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4" name="Picture Placeholder 67">
            <a:extLst>
              <a:ext uri="{FF2B5EF4-FFF2-40B4-BE49-F238E27FC236}">
                <a16:creationId xmlns:a16="http://schemas.microsoft.com/office/drawing/2014/main" id="{82D71B31-B689-8943-9214-1D0E8D3037A5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46452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5" name="Picture Placeholder 67">
            <a:extLst>
              <a:ext uri="{FF2B5EF4-FFF2-40B4-BE49-F238E27FC236}">
                <a16:creationId xmlns:a16="http://schemas.microsoft.com/office/drawing/2014/main" id="{E6E09087-AE4A-5241-97F4-BDBA3AC19693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770503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6" name="Picture Placeholder 67">
            <a:extLst>
              <a:ext uri="{FF2B5EF4-FFF2-40B4-BE49-F238E27FC236}">
                <a16:creationId xmlns:a16="http://schemas.microsoft.com/office/drawing/2014/main" id="{20E234C9-66E0-0146-8B78-14D842DA9165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719159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7" name="Picture Placeholder 67">
            <a:extLst>
              <a:ext uri="{FF2B5EF4-FFF2-40B4-BE49-F238E27FC236}">
                <a16:creationId xmlns:a16="http://schemas.microsoft.com/office/drawing/2014/main" id="{17F07D72-35EC-D044-AAED-A8319C4F8E09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618604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8" name="Picture Placeholder 67">
            <a:extLst>
              <a:ext uri="{FF2B5EF4-FFF2-40B4-BE49-F238E27FC236}">
                <a16:creationId xmlns:a16="http://schemas.microsoft.com/office/drawing/2014/main" id="{74654839-30C4-7541-98EF-51B7CD79610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42655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79" name="Picture Placeholder 67">
            <a:extLst>
              <a:ext uri="{FF2B5EF4-FFF2-40B4-BE49-F238E27FC236}">
                <a16:creationId xmlns:a16="http://schemas.microsoft.com/office/drawing/2014/main" id="{4BB853D2-D547-5E4D-8E3D-0CE86C35D5FA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0466708" y="4596237"/>
            <a:ext cx="853440" cy="853440"/>
          </a:xfrm>
          <a:prstGeom prst="ellipse">
            <a:avLst/>
          </a:prstGeom>
        </p:spPr>
        <p:txBody>
          <a:bodyPr wrap="none" anchor="ctr" anchorCtr="0"/>
          <a:lstStyle>
            <a:lvl1pPr algn="ctr">
              <a:defRPr sz="1200"/>
            </a:lvl1pPr>
          </a:lstStyle>
          <a:p>
            <a:r>
              <a:rPr lang="en-US"/>
              <a:t>Photo</a:t>
            </a:r>
          </a:p>
        </p:txBody>
      </p:sp>
      <p:sp>
        <p:nvSpPr>
          <p:cNvPr id="80" name="Text Placeholder 83">
            <a:extLst>
              <a:ext uri="{FF2B5EF4-FFF2-40B4-BE49-F238E27FC236}">
                <a16:creationId xmlns:a16="http://schemas.microsoft.com/office/drawing/2014/main" id="{88B612F4-F38C-BD4A-87FF-895AA37D6B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68899" y="1907479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1" name="Text Placeholder 83">
            <a:extLst>
              <a:ext uri="{FF2B5EF4-FFF2-40B4-BE49-F238E27FC236}">
                <a16:creationId xmlns:a16="http://schemas.microsoft.com/office/drawing/2014/main" id="{5C5EE014-FA3C-934A-8CC2-11203FE9A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1479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2" name="Text Placeholder 83">
            <a:extLst>
              <a:ext uri="{FF2B5EF4-FFF2-40B4-BE49-F238E27FC236}">
                <a16:creationId xmlns:a16="http://schemas.microsoft.com/office/drawing/2014/main" id="{74D84BBC-123F-1A43-93FC-3CFAE59BCA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2823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3" name="Text Placeholder 83">
            <a:extLst>
              <a:ext uri="{FF2B5EF4-FFF2-40B4-BE49-F238E27FC236}">
                <a16:creationId xmlns:a16="http://schemas.microsoft.com/office/drawing/2014/main" id="{E3CEB27D-3F84-414C-A9E6-D9D7C74631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8772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A8DEC50F-D19F-3E42-B6E0-D5D8747938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9028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5" name="Text Placeholder 83">
            <a:extLst>
              <a:ext uri="{FF2B5EF4-FFF2-40B4-BE49-F238E27FC236}">
                <a16:creationId xmlns:a16="http://schemas.microsoft.com/office/drawing/2014/main" id="{5F13B1BB-C6ED-8D4C-B525-B29C84CF81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54975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6" name="Text Placeholder 83">
            <a:extLst>
              <a:ext uri="{FF2B5EF4-FFF2-40B4-BE49-F238E27FC236}">
                <a16:creationId xmlns:a16="http://schemas.microsoft.com/office/drawing/2014/main" id="{1E7FF1AB-94A1-0D46-9FC7-2674161836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0924" y="3737627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7" name="Text Placeholder 83">
            <a:extLst>
              <a:ext uri="{FF2B5EF4-FFF2-40B4-BE49-F238E27FC236}">
                <a16:creationId xmlns:a16="http://schemas.microsoft.com/office/drawing/2014/main" id="{2C8A6B46-DBF7-AC42-94CC-097C3D1925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1479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8" name="Text Placeholder 83">
            <a:extLst>
              <a:ext uri="{FF2B5EF4-FFF2-40B4-BE49-F238E27FC236}">
                <a16:creationId xmlns:a16="http://schemas.microsoft.com/office/drawing/2014/main" id="{ABBACA32-076F-1D41-B4FB-BA3ED4498E9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82823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89" name="Text Placeholder 83">
            <a:extLst>
              <a:ext uri="{FF2B5EF4-FFF2-40B4-BE49-F238E27FC236}">
                <a16:creationId xmlns:a16="http://schemas.microsoft.com/office/drawing/2014/main" id="{735CB186-30CE-9E44-9028-E198C544D1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58772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0" name="Text Placeholder 83">
            <a:extLst>
              <a:ext uri="{FF2B5EF4-FFF2-40B4-BE49-F238E27FC236}">
                <a16:creationId xmlns:a16="http://schemas.microsoft.com/office/drawing/2014/main" id="{104600B6-B6CC-E847-9A5F-0779C37F2D2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9028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1" name="Text Placeholder 83">
            <a:extLst>
              <a:ext uri="{FF2B5EF4-FFF2-40B4-BE49-F238E27FC236}">
                <a16:creationId xmlns:a16="http://schemas.microsoft.com/office/drawing/2014/main" id="{FCB68CAC-E578-D548-9EB3-CC94BF3B11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54975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  <p:sp>
        <p:nvSpPr>
          <p:cNvPr id="92" name="Text Placeholder 83">
            <a:extLst>
              <a:ext uri="{FF2B5EF4-FFF2-40B4-BE49-F238E27FC236}">
                <a16:creationId xmlns:a16="http://schemas.microsoft.com/office/drawing/2014/main" id="{BA3EB425-E682-1647-82FF-7FB270B454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0924" y="5558756"/>
            <a:ext cx="1828800" cy="609600"/>
          </a:xfrm>
        </p:spPr>
        <p:txBody>
          <a:bodyPr anchor="ctr"/>
          <a:lstStyle>
            <a:lvl1pPr algn="ctr">
              <a:defRPr sz="13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616866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4440EE3-552A-AF44-9480-6204DF148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12DAAA0-E373-AC48-98A8-3832013F76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3D8618-0E2B-404E-946E-F9E1BA8C0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395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smtClean="0">
                <a:solidFill>
                  <a:schemeClr val="accent2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1531373-098A-074F-BF1C-C124A80CE1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3064" y="1711218"/>
            <a:ext cx="5555541" cy="386836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5A0AF76-EE65-6441-AAF2-1CD54D826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3341" y="1244601"/>
            <a:ext cx="5550260" cy="4677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buFontTx/>
              <a:buNone/>
              <a:defRPr lang="en-US" sz="2667" b="1" i="0" kern="1200" dirty="0">
                <a:solidFill>
                  <a:schemeClr val="accent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943956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6147AFB-E946-2043-B8E5-BB294628B1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D6C8D-8A82-6547-834D-08832A7F4E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6" y="1200505"/>
            <a:ext cx="5712605" cy="47258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667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4DFD411-C23C-F74E-8A37-6756D4E42E6E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096001" y="1200505"/>
            <a:ext cx="5712884" cy="4726516"/>
          </a:xfrm>
        </p:spPr>
        <p:txBody>
          <a:bodyPr/>
          <a:lstStyle>
            <a:lvl1pPr algn="ctr">
              <a:defRPr i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icon to add visual content </a:t>
            </a:r>
          </a:p>
        </p:txBody>
      </p:sp>
    </p:spTree>
    <p:extLst>
      <p:ext uri="{BB962C8B-B14F-4D97-AF65-F5344CB8AC3E}">
        <p14:creationId xmlns:p14="http://schemas.microsoft.com/office/powerpoint/2010/main" val="120290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3147A9F1-AD8E-3645-9379-6B893AB12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BF071-AE4D-8E45-935F-2681E9C1BE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9ADDB19-34AC-C243-A8FD-610E5CEE31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395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255D53-0948-D84D-94AB-AEE25B7F1C7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260976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3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8738666D-BA63-224B-97ED-9BAE973139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38557" y="1573356"/>
            <a:ext cx="3670048" cy="430251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accent4"/>
                </a:solidFill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549189-4063-FA48-BAF9-6D857CBC674B}"/>
              </a:ext>
            </a:extLst>
          </p:cNvPr>
          <p:cNvCxnSpPr/>
          <p:nvPr/>
        </p:nvCxnSpPr>
        <p:spPr>
          <a:xfrm>
            <a:off x="4158807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B72B88B-B109-0B45-A97D-97E7B5D0965B}"/>
              </a:ext>
            </a:extLst>
          </p:cNvPr>
          <p:cNvCxnSpPr/>
          <p:nvPr/>
        </p:nvCxnSpPr>
        <p:spPr>
          <a:xfrm>
            <a:off x="8052783" y="1556130"/>
            <a:ext cx="0" cy="431973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71921A8-400A-2E41-A73A-8DAA2301477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3383" y="2070310"/>
            <a:ext cx="3670048" cy="3805557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D70CC68-ED0E-664A-B7A3-3796D1B47E2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60969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F1B5E4C-DAD1-EB46-821A-451C78F8B01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38557" y="2070310"/>
            <a:ext cx="3670048" cy="3805557"/>
          </a:xfrm>
        </p:spPr>
        <p:txBody>
          <a:bodyPr anchor="t"/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tabLst/>
              <a:defRPr lang="en-US" sz="2133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>
              <a:defRPr lang="en-US" sz="2133" b="0" i="0" kern="1200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011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9806D76-AE6D-F84A-AC06-2E776C6D5E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08083DE-52D5-E149-8D08-325D751A5A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11425208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1A262DC-1D05-C348-B09B-87862E053E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F0B25F8-3EB2-D147-84E3-49BABCC17A76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39786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32828" indent="-232828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>
              <a:spcBef>
                <a:spcPts val="6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2pPr>
            <a:lvl3pPr marL="683667" indent="-150280">
              <a:spcBef>
                <a:spcPts val="267"/>
              </a:spcBef>
              <a:buClr>
                <a:schemeClr val="accent1"/>
              </a:buClr>
              <a:defRPr sz="1867">
                <a:solidFill>
                  <a:schemeClr val="tx1"/>
                </a:solidFill>
              </a:defRPr>
            </a:lvl3pPr>
            <a:lvl4pPr marL="914377" indent="-152396">
              <a:spcBef>
                <a:spcPts val="267"/>
              </a:spcBef>
              <a:defRPr sz="1467"/>
            </a:lvl4pPr>
            <a:lvl5pPr marL="1142971" indent="-152396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2B9BFD-4472-BD41-986C-F3840C2CF27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AD42C32-5D56-7F43-8866-4CC2420C9287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84C6F284-9CD8-5C47-836F-04262A03376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11425209" cy="165440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buClr>
                <a:schemeClr val="accent2"/>
              </a:buClr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2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9279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A1176D2-88B6-094B-81CA-D63F0670CF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3CC72B8-84AE-214E-B9EE-C282A7FE6E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7861" y="3769607"/>
            <a:ext cx="5555264" cy="393763"/>
          </a:xfrm>
          <a:prstGeom prst="rect">
            <a:avLst/>
          </a:prstGeom>
          <a:solidFill>
            <a:schemeClr val="tx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C428A9-BE00-F74F-B3A2-5CEE780A82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861" y="1570537"/>
            <a:ext cx="5555264" cy="393763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21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BE6D986-0160-5E4E-9956-DED0C86780E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341" y="1570537"/>
            <a:ext cx="5555264" cy="393763"/>
          </a:xfrm>
          <a:prstGeom prst="rect">
            <a:avLst/>
          </a:prstGeom>
          <a:solidFill>
            <a:schemeClr val="accent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BF39A7E-A4FE-3D47-999E-957595C8F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53341" y="3799650"/>
            <a:ext cx="5555264" cy="393763"/>
          </a:xfrm>
          <a:prstGeom prst="rect">
            <a:avLst/>
          </a:prstGeom>
          <a:solidFill>
            <a:schemeClr val="bg2"/>
          </a:solidFill>
          <a:ln w="28575">
            <a:noFill/>
            <a:miter lim="800000"/>
          </a:ln>
          <a:effectLst/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lang="en-US" sz="2133" b="1" i="0" kern="1200" dirty="0">
                <a:solidFill>
                  <a:schemeClr val="bg1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E1096A6-7B7F-CC45-BB01-0D1472ABB94F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6253341" y="2014803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C5E7087-7D98-0549-ADB8-606CF45E37DA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39786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1FE7ED-35EB-3040-82F4-5F3418FBB5DE}"/>
              </a:ext>
            </a:extLst>
          </p:cNvPr>
          <p:cNvSpPr>
            <a:spLocks noGrp="1"/>
          </p:cNvSpPr>
          <p:nvPr>
            <p:ph idx="48" hasCustomPrompt="1"/>
          </p:nvPr>
        </p:nvSpPr>
        <p:spPr>
          <a:xfrm>
            <a:off x="6253341" y="4221458"/>
            <a:ext cx="5555264" cy="165440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EFB6039-0016-EA42-BF43-39C0A346F789}"/>
              </a:ext>
            </a:extLst>
          </p:cNvPr>
          <p:cNvSpPr>
            <a:spLocks noGrp="1"/>
          </p:cNvSpPr>
          <p:nvPr>
            <p:ph idx="50" hasCustomPrompt="1"/>
          </p:nvPr>
        </p:nvSpPr>
        <p:spPr>
          <a:xfrm>
            <a:off x="397861" y="2014802"/>
            <a:ext cx="5555264" cy="1559711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333"/>
              </a:spcBef>
              <a:defRPr sz="2133">
                <a:solidFill>
                  <a:schemeClr val="tx1"/>
                </a:solidFill>
              </a:defRPr>
            </a:lvl1pPr>
            <a:lvl2pPr marL="457189" indent="-152396" algn="l" defTabSz="609585" rtl="0" eaLnBrk="1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687900" indent="-154513" algn="l" defTabSz="609585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ct val="90000"/>
              <a:tabLst/>
              <a:defRPr lang="en-US" sz="18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918610" indent="-156629">
              <a:spcBef>
                <a:spcPts val="267"/>
              </a:spcBef>
              <a:defRPr sz="1467"/>
            </a:lvl4pPr>
            <a:lvl5pPr marL="1138738" indent="-146047">
              <a:spcBef>
                <a:spcPts val="267"/>
              </a:spcBef>
              <a:defRPr sz="1400"/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6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296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39AD24E-8A5F-744E-8337-1E3D6BCF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6768D45-56DF-BB47-91B7-0E857840C85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16568" y="1433576"/>
            <a:ext cx="2694432" cy="453542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DB4F6BF-8B3F-004D-9E4D-5144F0952E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108437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D445E2FB-A91A-9C4B-BE77-805D2C1E03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23187" y="1433576"/>
            <a:ext cx="2694432" cy="45354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EA6D7EC-DAA2-0840-AB2A-4625EE8AEA4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15056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DAD5809-6115-5B4B-A532-F9439D78AFD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3731" y="1433576"/>
            <a:ext cx="2694432" cy="453542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1D28ED0-DD0C-C547-8B5C-5EF68A68E82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5600" y="1900358"/>
            <a:ext cx="2702563" cy="4062841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724E066-98CC-F34D-94FC-898CCFDBFED9}"/>
              </a:ext>
            </a:extLst>
          </p:cNvPr>
          <p:cNvSpPr/>
          <p:nvPr/>
        </p:nvSpPr>
        <p:spPr>
          <a:xfrm>
            <a:off x="3281344" y="1429670"/>
            <a:ext cx="2697865" cy="4533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E2E2F4F-6736-8C44-9545-F0F66BDB9D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81343" y="1433576"/>
            <a:ext cx="2694432" cy="453542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31114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add text</a:t>
            </a:r>
          </a:p>
          <a:p>
            <a:pPr lvl="0"/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9E4B831-0946-EB49-B790-6D3A380275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81343" y="1900358"/>
            <a:ext cx="2702563" cy="4062841"/>
          </a:xfrm>
          <a:prstGeom prst="rect">
            <a:avLst/>
          </a:prstGeom>
        </p:spPr>
        <p:txBody>
          <a:bodyPr/>
          <a:lstStyle>
            <a:lvl1pPr marL="228594" indent="-228594">
              <a:buClr>
                <a:schemeClr val="bg1"/>
              </a:buClr>
              <a:buFont typeface="Arial" panose="020B0604020202020204" pitchFamily="34" charset="0"/>
              <a:buChar char="•"/>
              <a:defRPr sz="1867">
                <a:solidFill>
                  <a:schemeClr val="bg1"/>
                </a:solidFill>
              </a:defRPr>
            </a:lvl1pPr>
            <a:lvl2pPr>
              <a:defRPr sz="1467"/>
            </a:lvl2pPr>
            <a:lvl3pPr>
              <a:defRPr sz="1400"/>
            </a:lvl3pPr>
            <a:lvl4pPr>
              <a:defRPr sz="1333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2364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IMAG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8D89EC0F-276B-854A-9C14-F34A2FB235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828A2A84-94E7-7845-B110-8349D093BD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3397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4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2C19F6E4-8F57-FF4D-B18E-D91CB94422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12349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B1DBDCAD-67BE-6940-AAB4-8C10C6B4F0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600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F408EA38-4DCC-D547-9442-D8700F50FA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0725" y="4914486"/>
            <a:ext cx="2828544" cy="53819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spcBef>
                <a:spcPts val="0"/>
              </a:spcBef>
              <a:defRPr sz="2133" b="1">
                <a:solidFill>
                  <a:schemeClr val="bg2"/>
                </a:solidFill>
                <a:latin typeface="+mj-lt"/>
              </a:defRPr>
            </a:lvl1pPr>
            <a:lvl2pPr>
              <a:spcBef>
                <a:spcPts val="800"/>
              </a:spcBef>
              <a:defRPr sz="1600"/>
            </a:lvl2pPr>
            <a:lvl3pPr>
              <a:defRPr sz="1467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76" name="Picture Placeholder 39">
            <a:extLst>
              <a:ext uri="{FF2B5EF4-FFF2-40B4-BE49-F238E27FC236}">
                <a16:creationId xmlns:a16="http://schemas.microsoft.com/office/drawing/2014/main" id="{19E5228E-EBF7-D744-930A-19193DF24A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5" t="704" b="1"/>
          <a:stretch/>
        </p:blipFill>
        <p:spPr>
          <a:xfrm>
            <a:off x="9684112" y="1522363"/>
            <a:ext cx="2135157" cy="338462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B8AC1CAE-5521-794B-AA4D-308ED8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51" t="914" r="66340" b="567"/>
          <a:stretch/>
        </p:blipFill>
        <p:spPr>
          <a:xfrm>
            <a:off x="8990726" y="1524935"/>
            <a:ext cx="1122868" cy="337831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41F3DF0-308D-EB41-BB03-69D6E697FC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919281" y="1522697"/>
            <a:ext cx="2143239" cy="3389903"/>
          </a:xfrm>
          <a:prstGeom prst="rect">
            <a:avLst/>
          </a:prstGeom>
        </p:spPr>
      </p:pic>
      <p:pic>
        <p:nvPicPr>
          <p:cNvPr id="79" name="Picture 78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4CAB181-C174-8C41-8B8B-E5995FE93C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34" t="211" r="70942" b="-1"/>
          <a:stretch/>
        </p:blipFill>
        <p:spPr>
          <a:xfrm>
            <a:off x="3233975" y="1522363"/>
            <a:ext cx="1122869" cy="3385815"/>
          </a:xfrm>
          <a:prstGeom prst="rect">
            <a:avLst/>
          </a:prstGeom>
        </p:spPr>
      </p:pic>
      <p:pic>
        <p:nvPicPr>
          <p:cNvPr id="80" name="Picture Placeholder 33">
            <a:extLst>
              <a:ext uri="{FF2B5EF4-FFF2-40B4-BE49-F238E27FC236}">
                <a16:creationId xmlns:a16="http://schemas.microsoft.com/office/drawing/2014/main" id="{D1F553DC-4319-7A49-8211-F3803A054C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7" r="490" b="-1"/>
          <a:stretch/>
        </p:blipFill>
        <p:spPr>
          <a:xfrm>
            <a:off x="949037" y="1522363"/>
            <a:ext cx="2235107" cy="3392965"/>
          </a:xfrm>
          <a:prstGeom prst="rect">
            <a:avLst/>
          </a:prstGeom>
        </p:spPr>
      </p:pic>
      <p:pic>
        <p:nvPicPr>
          <p:cNvPr id="81" name="Picture 8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B14ACF1C-5845-AE4F-9944-D347928D653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35" r="535"/>
          <a:stretch/>
        </p:blipFill>
        <p:spPr>
          <a:xfrm>
            <a:off x="355600" y="1522363"/>
            <a:ext cx="1119677" cy="3392965"/>
          </a:xfrm>
          <a:prstGeom prst="rect">
            <a:avLst/>
          </a:prstGeom>
        </p:spPr>
      </p:pic>
      <p:pic>
        <p:nvPicPr>
          <p:cNvPr id="82" name="Picture Placeholder 37">
            <a:extLst>
              <a:ext uri="{FF2B5EF4-FFF2-40B4-BE49-F238E27FC236}">
                <a16:creationId xmlns:a16="http://schemas.microsoft.com/office/drawing/2014/main" id="{88D7EDD5-F91D-774E-BDA6-BEC0155797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738669" y="1524935"/>
            <a:ext cx="2202224" cy="338067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ED54C246-E9A2-B84B-9496-9CC169166B25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l="42764" t="246" r="6122" b="186"/>
          <a:stretch/>
        </p:blipFill>
        <p:spPr>
          <a:xfrm>
            <a:off x="6112349" y="1522363"/>
            <a:ext cx="1121664" cy="337831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071037D9-D9D1-BA4D-A713-EF63992164B4}"/>
              </a:ext>
            </a:extLst>
          </p:cNvPr>
          <p:cNvSpPr/>
          <p:nvPr/>
        </p:nvSpPr>
        <p:spPr>
          <a:xfrm>
            <a:off x="3233975" y="4852144"/>
            <a:ext cx="2828544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BA68E3-C30C-B64B-801D-E6C5BCDF0B91}"/>
              </a:ext>
            </a:extLst>
          </p:cNvPr>
          <p:cNvSpPr/>
          <p:nvPr/>
        </p:nvSpPr>
        <p:spPr>
          <a:xfrm>
            <a:off x="6112349" y="4852144"/>
            <a:ext cx="2828544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AB58E2-074E-BA4C-A9BC-ADE9EB1C7A22}"/>
              </a:ext>
            </a:extLst>
          </p:cNvPr>
          <p:cNvSpPr/>
          <p:nvPr/>
        </p:nvSpPr>
        <p:spPr>
          <a:xfrm>
            <a:off x="8990725" y="4852144"/>
            <a:ext cx="2828544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bg2"/>
              </a:solidFill>
              <a:latin typeface="Arial" panose="020B0604020202020204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0F9B198-2048-B94E-9F89-2F9217341535}"/>
              </a:ext>
            </a:extLst>
          </p:cNvPr>
          <p:cNvSpPr/>
          <p:nvPr/>
        </p:nvSpPr>
        <p:spPr>
          <a:xfrm>
            <a:off x="355600" y="4852144"/>
            <a:ext cx="2828544" cy="1219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377"/>
            <a:endParaRPr lang="en-US" sz="1800">
              <a:solidFill>
                <a:schemeClr val="tx1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88" name="Picture Placeholder 3">
            <a:extLst>
              <a:ext uri="{FF2B5EF4-FFF2-40B4-BE49-F238E27FC236}">
                <a16:creationId xmlns:a16="http://schemas.microsoft.com/office/drawing/2014/main" id="{05A4267D-E6F8-3949-88B6-59863A7C298D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112349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623389BD-3EFC-C540-A4B3-29959FD9314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9072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D4D76BD0-3AA5-E041-A3BD-49318E9B69E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233975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1" name="Picture Placeholder 3">
            <a:extLst>
              <a:ext uri="{FF2B5EF4-FFF2-40B4-BE49-F238E27FC236}">
                <a16:creationId xmlns:a16="http://schemas.microsoft.com/office/drawing/2014/main" id="{C0C00F48-DC02-0741-BCFF-248A1AED759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55600" y="1522363"/>
            <a:ext cx="2828544" cy="3328416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171028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7B4EA28-C5FD-3148-BDC6-4611AEA92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F309016-0D2D-FC43-A289-E9884B1D5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73727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ABF4B230-3977-AA4A-BBF1-51A68B68C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2" name="Picture 51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8D177BCB-A2E4-1747-8D64-11B64E5598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697" r="61435" b="10766"/>
          <a:stretch/>
        </p:blipFill>
        <p:spPr>
          <a:xfrm>
            <a:off x="9168319" y="2123467"/>
            <a:ext cx="3023680" cy="201168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3F767451-3661-8044-AC1C-CC0C2E5CCF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1" t="668" r="3725" b="2420"/>
          <a:stretch/>
        </p:blipFill>
        <p:spPr>
          <a:xfrm>
            <a:off x="6095996" y="2123467"/>
            <a:ext cx="3023616" cy="201168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BB4B8B4-DEE2-5B43-916C-519D7B8EDC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7" t="1487" r="1490" b="1787"/>
          <a:stretch/>
        </p:blipFill>
        <p:spPr>
          <a:xfrm>
            <a:off x="6095997" y="52160"/>
            <a:ext cx="3023616" cy="2021064"/>
          </a:xfrm>
          <a:prstGeom prst="rect">
            <a:avLst/>
          </a:prstGeom>
        </p:spPr>
      </p:pic>
      <p:pic>
        <p:nvPicPr>
          <p:cNvPr id="55" name="Picture 5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296DB915-A0B0-2F4D-8544-DAF648AAEE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17420" b="2371"/>
          <a:stretch/>
        </p:blipFill>
        <p:spPr>
          <a:xfrm>
            <a:off x="6096000" y="4191813"/>
            <a:ext cx="3023677" cy="2011680"/>
          </a:xfrm>
          <a:prstGeom prst="rect">
            <a:avLst/>
          </a:prstGeom>
        </p:spPr>
      </p:pic>
      <p:pic>
        <p:nvPicPr>
          <p:cNvPr id="56" name="Picture Placeholder 43">
            <a:extLst>
              <a:ext uri="{FF2B5EF4-FFF2-40B4-BE49-F238E27FC236}">
                <a16:creationId xmlns:a16="http://schemas.microsoft.com/office/drawing/2014/main" id="{FF666A9C-9FC3-2447-A50E-0B5AD12115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319" y="52160"/>
            <a:ext cx="3023679" cy="2021064"/>
          </a:xfrm>
          <a:prstGeom prst="rect">
            <a:avLst/>
          </a:prstGeom>
        </p:spPr>
      </p:pic>
      <p:pic>
        <p:nvPicPr>
          <p:cNvPr id="57" name="Picture 56" descr="Two people sitting on a bench&#10;&#10;Description automatically generated">
            <a:extLst>
              <a:ext uri="{FF2B5EF4-FFF2-40B4-BE49-F238E27FC236}">
                <a16:creationId xmlns:a16="http://schemas.microsoft.com/office/drawing/2014/main" id="{40CE3AF4-900C-804A-B60C-BFE7A58778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152" b="2237"/>
          <a:stretch/>
        </p:blipFill>
        <p:spPr>
          <a:xfrm>
            <a:off x="9169899" y="4191813"/>
            <a:ext cx="3020517" cy="2011680"/>
          </a:xfrm>
          <a:prstGeom prst="rect">
            <a:avLst/>
          </a:prstGeom>
        </p:spPr>
      </p:pic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39AA189-03DA-9242-83EF-676688FB831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6652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382A8C61-C745-DE4C-B3B7-8A96A7FC21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08" y="4334998"/>
            <a:ext cx="2767597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162325B4-239F-A142-8E7A-22039C50A2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07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F0F82607-B549-C740-91CC-128D161F65F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20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88EA48C6-5A0D-3C42-9036-29758D6CE9F3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9900" y="4191813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32D0C587-9F22-F743-895D-114D342DF8CF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5931" y="2121988"/>
            <a:ext cx="3023681" cy="2011680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067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34835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19">
            <a:extLst>
              <a:ext uri="{FF2B5EF4-FFF2-40B4-BE49-F238E27FC236}">
                <a16:creationId xmlns:a16="http://schemas.microsoft.com/office/drawing/2014/main" id="{C1CC2912-BC08-2242-B79A-CDAA8EB78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60"/>
          <a:stretch/>
        </p:blipFill>
        <p:spPr>
          <a:xfrm>
            <a:off x="9168314" y="4191905"/>
            <a:ext cx="3023681" cy="201158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F400CCF-8E9D-694D-AE0C-BB62FBAD9E75}"/>
              </a:ext>
            </a:extLst>
          </p:cNvPr>
          <p:cNvSpPr/>
          <p:nvPr/>
        </p:nvSpPr>
        <p:spPr>
          <a:xfrm>
            <a:off x="6095999" y="4191812"/>
            <a:ext cx="3023679" cy="20116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4" name="Picture Placeholder 15">
            <a:extLst>
              <a:ext uri="{FF2B5EF4-FFF2-40B4-BE49-F238E27FC236}">
                <a16:creationId xmlns:a16="http://schemas.microsoft.com/office/drawing/2014/main" id="{7ED23D17-5D24-CD40-A527-2576BB49E8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4"/>
          <a:stretch/>
        </p:blipFill>
        <p:spPr>
          <a:xfrm>
            <a:off x="6096001" y="2121995"/>
            <a:ext cx="3023681" cy="201168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68BA81E-7810-744D-84FB-39FDB50BCFE9}"/>
              </a:ext>
            </a:extLst>
          </p:cNvPr>
          <p:cNvSpPr/>
          <p:nvPr/>
        </p:nvSpPr>
        <p:spPr>
          <a:xfrm>
            <a:off x="9168321" y="2121987"/>
            <a:ext cx="3023679" cy="2011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46" name="Picture Placeholder 11">
            <a:extLst>
              <a:ext uri="{FF2B5EF4-FFF2-40B4-BE49-F238E27FC236}">
                <a16:creationId xmlns:a16="http://schemas.microsoft.com/office/drawing/2014/main" id="{7FC0F9B9-6DCC-FF43-A137-F5C76E539C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33" r="2334" b="-128"/>
          <a:stretch/>
        </p:blipFill>
        <p:spPr>
          <a:xfrm>
            <a:off x="9168320" y="54798"/>
            <a:ext cx="3023681" cy="201842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5E86E3-A626-8440-970A-D2D32C29EC30}"/>
              </a:ext>
            </a:extLst>
          </p:cNvPr>
          <p:cNvSpPr/>
          <p:nvPr/>
        </p:nvSpPr>
        <p:spPr>
          <a:xfrm>
            <a:off x="6095999" y="52160"/>
            <a:ext cx="3023679" cy="202106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DD7D525-35C6-2445-8C6F-37AA47A125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96361" y="2269864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058AFA0-5538-9B45-B1E9-45A6ADE0DB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224039" y="4339689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70B4DD9F-98A3-1344-B756-CC35847A7B8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24038" y="200036"/>
            <a:ext cx="2767599" cy="17253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6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400"/>
              </a:spcBef>
              <a:buClr>
                <a:schemeClr val="bg1"/>
              </a:buClr>
              <a:defRPr sz="9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60958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Tx/>
              <a:buNone/>
            </a:pPr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670B0FA1-84B0-9A43-B07D-DEC9DCA544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168314" y="4191717"/>
            <a:ext cx="3023681" cy="2011587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B8407CE8-1BEA-C644-8AFD-4E1A9B46B95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096001" y="2121989"/>
            <a:ext cx="3023681" cy="2011679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8988544-8973-4948-9B98-72039E5397F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68318" y="52160"/>
            <a:ext cx="3023681" cy="2021064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B13A8F6-4AF7-DF4E-8249-8611B901D5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340071" cy="1183888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  <a:br>
              <a:rPr lang="en-US"/>
            </a:b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1077D84-1D6B-AB45-9374-D471D1438E5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83395" y="1531408"/>
            <a:ext cx="5340069" cy="4056592"/>
          </a:xfrm>
        </p:spPr>
        <p:txBody>
          <a:bodyPr/>
          <a:lstStyle>
            <a:lvl1pPr>
              <a:defRPr lang="en-US" sz="2400" dirty="0">
                <a:solidFill>
                  <a:schemeClr val="tx1"/>
                </a:solidFill>
              </a:defRPr>
            </a:lvl1pPr>
            <a:lvl2pPr>
              <a:defRPr lang="en-US" sz="2133" dirty="0" smtClean="0">
                <a:solidFill>
                  <a:schemeClr val="tx1"/>
                </a:solidFill>
              </a:defRPr>
            </a:lvl2pPr>
            <a:lvl3pPr>
              <a:defRPr lang="en-US" sz="2133" dirty="0" smtClean="0">
                <a:solidFill>
                  <a:schemeClr val="tx1"/>
                </a:solidFill>
              </a:defRPr>
            </a:lvl3pPr>
            <a:lvl4pPr>
              <a:defRPr lang="en-US" sz="2133" dirty="0" smtClean="0">
                <a:solidFill>
                  <a:schemeClr val="tx1"/>
                </a:solidFill>
              </a:defRPr>
            </a:lvl4pPr>
            <a:lvl5pPr>
              <a:defRPr lang="en-US" sz="2133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 or click icon to add conten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E14966DD-602D-9449-8441-2402B1C0B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en-US" smtClean="0"/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9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IMAG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E744D7-8C8D-CF42-B94C-88DF2CD0E2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0" r="3076" b="1105"/>
          <a:stretch/>
        </p:blipFill>
        <p:spPr>
          <a:xfrm>
            <a:off x="2410383" y="3655503"/>
            <a:ext cx="4607724" cy="3208535"/>
          </a:xfrm>
          <a:prstGeom prst="rect">
            <a:avLst/>
          </a:prstGeom>
        </p:spPr>
      </p:pic>
      <p:pic>
        <p:nvPicPr>
          <p:cNvPr id="10" name="Picture Placeholder 42">
            <a:extLst>
              <a:ext uri="{FF2B5EF4-FFF2-40B4-BE49-F238E27FC236}">
                <a16:creationId xmlns:a16="http://schemas.microsoft.com/office/drawing/2014/main" id="{525484B2-94CF-D846-9569-729224AE9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0" b="-1"/>
          <a:stretch/>
        </p:blipFill>
        <p:spPr>
          <a:xfrm>
            <a:off x="0" y="0"/>
            <a:ext cx="3732765" cy="2508267"/>
          </a:xfrm>
          <a:prstGeom prst="rect">
            <a:avLst/>
          </a:prstGeom>
        </p:spPr>
      </p:pic>
      <p:pic>
        <p:nvPicPr>
          <p:cNvPr id="11" name="Picture Placeholder 44">
            <a:extLst>
              <a:ext uri="{FF2B5EF4-FFF2-40B4-BE49-F238E27FC236}">
                <a16:creationId xmlns:a16="http://schemas.microsoft.com/office/drawing/2014/main" id="{71CDAC28-1EF5-0843-92AE-E748F6728E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0" b="-1"/>
          <a:stretch/>
        </p:blipFill>
        <p:spPr>
          <a:xfrm>
            <a:off x="3815090" y="0"/>
            <a:ext cx="2975647" cy="2508267"/>
          </a:xfrm>
          <a:prstGeom prst="rect">
            <a:avLst/>
          </a:prstGeom>
        </p:spPr>
      </p:pic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DF201D75-4B45-3C48-97C0-53A8BE0BBA5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52" y="3872"/>
            <a:ext cx="3735917" cy="2508267"/>
          </a:xfrm>
          <a:prstGeom prst="rect">
            <a:avLst/>
          </a:prstGeom>
          <a:noFill/>
        </p:spPr>
        <p:txBody>
          <a:bodyPr lIns="1097280" rIns="109728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7EE155F5-287D-EC47-B09E-130702595B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814157" y="0"/>
            <a:ext cx="2976579" cy="2508267"/>
          </a:xfrm>
          <a:prstGeom prst="rect">
            <a:avLst/>
          </a:prstGeom>
          <a:noFill/>
        </p:spPr>
        <p:txBody>
          <a:bodyPr vert="horz" lIns="640080" tIns="91440" rIns="6400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7A9A566D-C952-FC46-9BD6-42DB36E9631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10383" y="3655503"/>
            <a:ext cx="4613559" cy="3208535"/>
          </a:xfrm>
          <a:prstGeom prst="rect">
            <a:avLst/>
          </a:prstGeom>
          <a:noFill/>
        </p:spPr>
        <p:txBody>
          <a:bodyPr vert="horz" lIns="1280160" tIns="45720" rIns="128016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49">
            <a:extLst>
              <a:ext uri="{FF2B5EF4-FFF2-40B4-BE49-F238E27FC236}">
                <a16:creationId xmlns:a16="http://schemas.microsoft.com/office/drawing/2014/main" id="{51D1F74A-B696-8242-9A3D-D1F6A064320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3"/>
          <a:stretch/>
        </p:blipFill>
        <p:spPr>
          <a:xfrm>
            <a:off x="6869912" y="-3248"/>
            <a:ext cx="5322089" cy="2510773"/>
          </a:xfrm>
          <a:prstGeom prst="rect">
            <a:avLst/>
          </a:prstGeom>
        </p:spPr>
      </p:pic>
      <p:pic>
        <p:nvPicPr>
          <p:cNvPr id="16" name="Picture Placeholder 59">
            <a:extLst>
              <a:ext uri="{FF2B5EF4-FFF2-40B4-BE49-F238E27FC236}">
                <a16:creationId xmlns:a16="http://schemas.microsoft.com/office/drawing/2014/main" id="{E28BF39A-5D8B-7443-A8AB-004F52FE366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111584" y="3649466"/>
            <a:ext cx="5080179" cy="3208535"/>
          </a:xfrm>
          <a:prstGeom prst="rect">
            <a:avLst/>
          </a:prstGeom>
        </p:spPr>
      </p:pic>
      <p:pic>
        <p:nvPicPr>
          <p:cNvPr id="14" name="Picture Placeholder 51">
            <a:extLst>
              <a:ext uri="{FF2B5EF4-FFF2-40B4-BE49-F238E27FC236}">
                <a16:creationId xmlns:a16="http://schemas.microsoft.com/office/drawing/2014/main" id="{DA0EE50A-30C4-7B4E-BF1E-98711CB9483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063" y="3649466"/>
            <a:ext cx="2315019" cy="320853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AA0FBA-9125-5A41-B907-C88B86C045F8}"/>
              </a:ext>
            </a:extLst>
          </p:cNvPr>
          <p:cNvSpPr/>
          <p:nvPr/>
        </p:nvSpPr>
        <p:spPr>
          <a:xfrm>
            <a:off x="0" y="2587857"/>
            <a:ext cx="12192000" cy="9828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CA73420-18DD-FF4F-8245-F1064F8DAD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063" y="3649466"/>
            <a:ext cx="2317145" cy="3208535"/>
          </a:xfrm>
          <a:prstGeom prst="rect">
            <a:avLst/>
          </a:prstGeom>
          <a:noFill/>
        </p:spPr>
        <p:txBody>
          <a:bodyPr lIns="457200" rIns="45720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A0BE0697-0B7E-1F4C-A69C-9C16C31A88A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11585" y="3649466"/>
            <a:ext cx="5080652" cy="3208535"/>
          </a:xfrm>
          <a:prstGeom prst="rect">
            <a:avLst/>
          </a:prstGeom>
          <a:noFill/>
        </p:spPr>
        <p:txBody>
          <a:bodyPr vert="horz" lIns="1463040" tIns="0" rIns="146304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7A932BA-8203-CE40-9225-5F72B213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31" y="2737104"/>
            <a:ext cx="11520739" cy="68435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B1EDA2-4030-0D42-9AF5-D5D50216965F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D3FE7116-7830-2D44-8CA0-3C3CF79419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9912" y="3872"/>
            <a:ext cx="5322089" cy="2508267"/>
          </a:xfrm>
          <a:prstGeom prst="rect">
            <a:avLst/>
          </a:prstGeom>
          <a:noFill/>
        </p:spPr>
        <p:txBody>
          <a:bodyPr vert="horz" lIns="1554480" tIns="0" rIns="1554480" bIns="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893591C8-6832-F846-8E75-8F1E8C660A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32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WITH IMAG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27">
            <a:extLst>
              <a:ext uri="{FF2B5EF4-FFF2-40B4-BE49-F238E27FC236}">
                <a16:creationId xmlns:a16="http://schemas.microsoft.com/office/drawing/2014/main" id="{4E95861F-A4D7-7F42-92D5-7E95E1C8F2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73303" y="4560341"/>
            <a:ext cx="2969159" cy="2297660"/>
          </a:xfrm>
          <a:prstGeom prst="rect">
            <a:avLst/>
          </a:prstGeom>
        </p:spPr>
      </p:pic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67D338AE-A10E-EE4D-A4B0-35F05194931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471523" y="4560341"/>
            <a:ext cx="2970939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pic>
        <p:nvPicPr>
          <p:cNvPr id="13" name="Picture Placeholder 62">
            <a:extLst>
              <a:ext uri="{FF2B5EF4-FFF2-40B4-BE49-F238E27FC236}">
                <a16:creationId xmlns:a16="http://schemas.microsoft.com/office/drawing/2014/main" id="{920F07E6-BC96-0146-A4E7-2B6DF0B084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1405" y="261"/>
            <a:ext cx="3520596" cy="1985976"/>
          </a:xfrm>
          <a:prstGeom prst="rect">
            <a:avLst/>
          </a:prstGeom>
        </p:spPr>
      </p:pic>
      <p:pic>
        <p:nvPicPr>
          <p:cNvPr id="15" name="Picture Placeholder 15">
            <a:extLst>
              <a:ext uri="{FF2B5EF4-FFF2-40B4-BE49-F238E27FC236}">
                <a16:creationId xmlns:a16="http://schemas.microsoft.com/office/drawing/2014/main" id="{8B483E4B-AECA-3F49-A2BF-26EA791F8F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473303" y="2081841"/>
            <a:ext cx="3481647" cy="2380892"/>
          </a:xfrm>
          <a:prstGeom prst="rect">
            <a:avLst/>
          </a:prstGeom>
        </p:spPr>
      </p:pic>
      <p:pic>
        <p:nvPicPr>
          <p:cNvPr id="16" name="Picture Placeholder 56">
            <a:extLst>
              <a:ext uri="{FF2B5EF4-FFF2-40B4-BE49-F238E27FC236}">
                <a16:creationId xmlns:a16="http://schemas.microsoft.com/office/drawing/2014/main" id="{AD2873C4-F784-A444-9BC0-20F4FEFEF7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9067744" y="2081841"/>
            <a:ext cx="3121739" cy="2380892"/>
          </a:xfrm>
          <a:prstGeom prst="rect">
            <a:avLst/>
          </a:prstGeom>
        </p:spPr>
      </p:pic>
      <p:pic>
        <p:nvPicPr>
          <p:cNvPr id="18" name="Picture Placeholder 53">
            <a:extLst>
              <a:ext uri="{FF2B5EF4-FFF2-40B4-BE49-F238E27FC236}">
                <a16:creationId xmlns:a16="http://schemas.microsoft.com/office/drawing/2014/main" id="{91675910-5380-4243-88AD-9E1DBA617E8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72414" y="1169"/>
            <a:ext cx="3089733" cy="1984164"/>
          </a:xfrm>
          <a:prstGeom prst="rect">
            <a:avLst/>
          </a:prstGeom>
        </p:spPr>
      </p:pic>
      <p:pic>
        <p:nvPicPr>
          <p:cNvPr id="19" name="Picture Placeholder 58">
            <a:extLst>
              <a:ext uri="{FF2B5EF4-FFF2-40B4-BE49-F238E27FC236}">
                <a16:creationId xmlns:a16="http://schemas.microsoft.com/office/drawing/2014/main" id="{50511821-0395-444F-818B-B0A1957E427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562445" y="4560341"/>
            <a:ext cx="3629257" cy="22976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62F1674-7D59-A04F-BCA3-D1F154AC7B57}"/>
              </a:ext>
            </a:extLst>
          </p:cNvPr>
          <p:cNvSpPr/>
          <p:nvPr/>
        </p:nvSpPr>
        <p:spPr>
          <a:xfrm>
            <a:off x="0" y="0"/>
            <a:ext cx="536302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B97B83D-9279-6249-A88C-B3E5835DA60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71405" y="-1"/>
            <a:ext cx="3520596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2E58AC93-20E1-7A44-B15C-54C277AE86B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471523" y="2081841"/>
            <a:ext cx="3483427" cy="2380748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7EA2B16C-99B5-8247-A6CB-5E6CD16D980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65227" y="2081841"/>
            <a:ext cx="3126773" cy="2380892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7411B55D-F8F1-EE4A-B363-41D52847C93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472414" y="-1"/>
            <a:ext cx="3089733" cy="1986503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E2776DAF-3DAD-2B41-AE2A-0D3BD1217E5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562445" y="4560341"/>
            <a:ext cx="3629852" cy="2297660"/>
          </a:xfrm>
          <a:prstGeom prst="rect">
            <a:avLst/>
          </a:prstGeom>
        </p:spPr>
        <p:txBody>
          <a:bodyPr lIns="822960" rIns="822960"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933" b="0" i="0" kern="120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B65837-C537-E54F-B793-18EBB234E0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5" y="2152659"/>
            <a:ext cx="4771199" cy="127634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BF2F7-AC8A-C142-96DE-D013D17E3AD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3395" y="3429001"/>
            <a:ext cx="4771701" cy="131021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04AE2-82B6-764F-BA03-10569CFA6E15}"/>
              </a:ext>
            </a:extLst>
          </p:cNvPr>
          <p:cNvSpPr/>
          <p:nvPr/>
        </p:nvSpPr>
        <p:spPr>
          <a:xfrm>
            <a:off x="5397324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5B479DB-749D-FA40-87A0-FD9A3AE06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3EEAA65-85F7-CB4D-973B-D597BEF932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67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68" y="1"/>
            <a:ext cx="12187864" cy="6881855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6C0D46A-FF4F-F44B-97EC-1F65E8FAA1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-1" y="0"/>
            <a:ext cx="12192001" cy="6881853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-1" y="0"/>
            <a:ext cx="8914151" cy="6881853"/>
          </a:xfrm>
          <a:prstGeom prst="rect">
            <a:avLst/>
          </a:prstGeom>
          <a:gradFill>
            <a:gsLst>
              <a:gs pos="0">
                <a:srgbClr val="000021">
                  <a:alpha val="22000"/>
                </a:srgbClr>
              </a:gs>
              <a:gs pos="30000">
                <a:srgbClr val="000029">
                  <a:alpha val="31765"/>
                </a:srgbClr>
              </a:gs>
              <a:gs pos="94000">
                <a:srgbClr val="000006">
                  <a:alpha val="0"/>
                </a:srgbClr>
              </a:gs>
              <a:gs pos="8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7" y="5024205"/>
            <a:ext cx="4584559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0" y="4243074"/>
            <a:ext cx="4598425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4670265" cy="9729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587AC4-D2B3-6E46-946A-0A1598A9DF1D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FF4516F-7E2F-9146-99E8-85581F25DB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D9E935-6C96-2E40-AB69-333E4FD66CF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F2FAFCE8-1275-CD41-AA2B-27D5E751BB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8AEB0431-1410-1E46-99A9-478A7A78F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1707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WITH IMAG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3D7EA5-98CE-E64D-B4B3-616BE1827C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54" r="599"/>
          <a:stretch/>
        </p:blipFill>
        <p:spPr>
          <a:xfrm>
            <a:off x="6664" y="0"/>
            <a:ext cx="12185337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9B2337-3EE0-1643-8E16-46563C65FE81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467" b="0" i="0" kern="1200" dirty="0">
                <a:solidFill>
                  <a:schemeClr val="bg1"/>
                </a:solidFill>
                <a:highlight>
                  <a:srgbClr val="80B9F9"/>
                </a:highlight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38E6B3-CCF8-8640-A59B-0289FE0B33CF}"/>
              </a:ext>
            </a:extLst>
          </p:cNvPr>
          <p:cNvSpPr/>
          <p:nvPr/>
        </p:nvSpPr>
        <p:spPr>
          <a:xfrm>
            <a:off x="1" y="0"/>
            <a:ext cx="4223657" cy="6858000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C57ACDD-F1A3-CA43-B975-2FD4D34DF44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3396" y="4646434"/>
            <a:ext cx="5555264" cy="97010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33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5F72D60B-4E0D-3144-A3FC-DE987F943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531" y="3865303"/>
            <a:ext cx="5555264" cy="781132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256E3B-9377-C949-9B42-A6BE6F70D8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1082669-5DFC-D24F-A61B-A16E67B49C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0E4C6C89-79F5-924D-ABA0-B65743A1C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B7010-5F35-3740-B1BD-EB4E7C05652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98388606-6202-6E49-B63F-B5F5DF041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BFB5C9A-B671-914C-A0F0-29355FBFD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539935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47E97DF5-D64A-074B-BC19-985198FEE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16" r="1420" b="61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15" name="Picture 14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AA7BE32E-A7F4-7640-A94B-6A8C6951BF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29" t="1" r="66596" b="-1"/>
          <a:stretch/>
        </p:blipFill>
        <p:spPr>
          <a:xfrm>
            <a:off x="1" y="-1"/>
            <a:ext cx="2763251" cy="685800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02EFB-289E-7642-8DAC-165C9DE11D8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AFFE582-C223-B348-A577-615CF5569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0E5358A2-E924-314E-A65D-9C8B987C2A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E07847B-254E-6B4F-86E9-078342B266F0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31" name="Picture 30" descr="A close up of a sign&#10;&#10;Description automatically generated">
              <a:extLst>
                <a:ext uri="{FF2B5EF4-FFF2-40B4-BE49-F238E27FC236}">
                  <a16:creationId xmlns:a16="http://schemas.microsoft.com/office/drawing/2014/main" id="{7E565A62-A12C-7340-8D60-E44FB1E20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id="{43FE7547-9987-0A4C-8FDF-FE14E4800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DE2FD7-EC0D-484A-AE3F-B2A4EFA49E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1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8469342F-1A79-134C-8801-08A37CF3A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902" t="36269" r="-1" b="3628"/>
          <a:stretch/>
        </p:blipFill>
        <p:spPr>
          <a:xfrm>
            <a:off x="0" y="-1"/>
            <a:ext cx="813049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6B52285-243B-6342-819B-33E36580B45E}"/>
              </a:ext>
            </a:extLst>
          </p:cNvPr>
          <p:cNvSpPr/>
          <p:nvPr/>
        </p:nvSpPr>
        <p:spPr>
          <a:xfrm rot="16200000">
            <a:off x="2783239" y="-649067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F6E87B0-E7C3-5341-B422-DA3DBE330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74291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4221092-4856-1C47-9579-85175845D8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972048"/>
            <a:ext cx="7474576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1D611C-D51B-6046-AA23-8E02135F44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82761" y="-1"/>
            <a:ext cx="4209057" cy="6858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03B6C7C-9424-6946-AC2B-0B596FEFFBB9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06A0DB2B-F49F-1B41-94B9-069E4C7BFF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7DC04133-4B73-9247-BE6C-8FBF9807C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3660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FE5FD23-F866-2047-982E-CBFDD51EC5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84" y="0"/>
            <a:ext cx="12186427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E99D37-7C2D-2444-94FB-B37BD01E0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A33CC34-6B8A-DA4F-9623-4C5D8D409B8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0C2C2C52-AC0B-5A4D-BC8A-933D5187F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CD8C690-C9BF-B84B-89BD-88CB3B5F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294631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8ECE4B3-5DA4-F849-902C-D5DBD0601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" t="492" r="538" b="4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646557" y="-646555"/>
            <a:ext cx="6857999" cy="8151109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49C32-3944-AA4B-9E2F-FA75C6C795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-1" r="1175" b="3269"/>
          <a:stretch/>
        </p:blipFill>
        <p:spPr>
          <a:xfrm>
            <a:off x="0" y="3858291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E4FB52-464C-294E-A14A-24F6F8BC1F8B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149873F-A028-4A45-91CB-D2F8EE00A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32D6D5A-8AB3-F24F-812A-BDED756726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742564-4AC1-2448-89E3-FD75621F5FF2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05E8185-AA26-9747-932F-5192EBC79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BB0A4A09-5FC2-554D-9413-539997591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26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0"/>
            <a:ext cx="11425211" cy="4537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120EF8-EB1B-D946-82B1-CAD0E99BBD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40D02AD-857A-E546-92E5-BEEC2E0AF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8468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ABA9452-2949-9446-AC88-CB92BEB99D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7" t="1017" b="1017"/>
          <a:stretch/>
        </p:blipFill>
        <p:spPr>
          <a:xfrm>
            <a:off x="2641600" y="0"/>
            <a:ext cx="9546323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F6BF96D-11A4-484A-B39D-7C6AFB8C69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0" r="60791"/>
          <a:stretch/>
        </p:blipFill>
        <p:spPr>
          <a:xfrm>
            <a:off x="1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AE539-24A4-DF45-9606-B98B83EF179B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3AE515F-E6B5-A84C-8D2C-20BDEA69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  <a:prstGeom prst="rect">
            <a:avLst/>
          </a:prstGeo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FFB526C-85FA-984C-A331-ACAEF16C6A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0DFDD2-DA67-CD42-BE48-33FDA41D5FF4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5ECDD8E-4E7A-4549-9B1A-7C48900AE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64CC1EE-E249-7A4B-9AA7-68C99E427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FC074CA-5360-C24B-9833-CBDB6223A5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77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E04F1D-8242-DA49-BAFE-EA8D7C88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947946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CD7699-D227-674B-A0FB-ABE9AB3CB811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A47610-50C7-9447-9477-227C1DFB3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79" r="1170"/>
          <a:stretch/>
        </p:blipFill>
        <p:spPr>
          <a:xfrm>
            <a:off x="7990375" y="0"/>
            <a:ext cx="4201623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6EC793FD-6A19-9448-9E2D-690E87D92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  <a:prstGeom prst="rect">
            <a:avLst/>
          </a:prstGeo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0F7779C-31C9-B14B-893D-2E2E6B1B3E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97E3344-6145-8B4C-8425-F307D87001A6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F3404E46-B209-7841-B9CD-568FC50C3F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E3490339-188D-1F4D-B880-0682147BE1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46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ss, sitting, holding, hand&#10;&#10;Description automatically generated">
            <a:extLst>
              <a:ext uri="{FF2B5EF4-FFF2-40B4-BE49-F238E27FC236}">
                <a16:creationId xmlns:a16="http://schemas.microsoft.com/office/drawing/2014/main" id="{A63BF675-C25F-F34B-9C98-8414B478C85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2060"/>
            <a:ext cx="12192000" cy="68538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4AA5E1-97F7-F94D-A2BC-C8D84C968135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30C2FE8-CBEA-DF43-850F-002BBF4C0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  <a:prstGeom prst="rect">
            <a:avLst/>
          </a:prstGeo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4BEC19-A2BE-4340-9E25-E87CB1B911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5B82A02-5908-8C47-91C9-6A19E6F2740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5F607902-A4F4-A74D-91B0-155840AD3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3CD08B4A-DA5C-D64E-B301-8E1DDA566D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94869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F4EE8CF-2E0D-2C41-BBE4-D2BA756DEC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" t="638" r="812" b="849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8F9F64-97EA-7B45-9264-921033DB89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40" t="1" r="799" b="1878"/>
          <a:stretch/>
        </p:blipFill>
        <p:spPr>
          <a:xfrm>
            <a:off x="-1" y="3858291"/>
            <a:ext cx="7082991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513E27-43E7-454F-A802-0F7550E73259}"/>
              </a:ext>
            </a:extLst>
          </p:cNvPr>
          <p:cNvSpPr/>
          <p:nvPr/>
        </p:nvSpPr>
        <p:spPr>
          <a:xfrm rot="16200000">
            <a:off x="269741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AD955237-C6A5-C346-A2BD-69702C93AF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834FDC-A1E0-CA4D-9B19-4FBD5660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  <a:prstGeom prst="rect">
            <a:avLst/>
          </a:prstGeo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75F30AC-509B-FD43-A4F2-1FA5B572B9B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CFDB2E0E-0DAC-DC46-9724-DBC2F06B15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B508427F-CE42-FD4F-9A7F-DF12CFB5A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3609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FB3821-C7F5-C140-B553-BF5C000A5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36" t="369"/>
          <a:stretch/>
        </p:blipFill>
        <p:spPr>
          <a:xfrm>
            <a:off x="2747434" y="0"/>
            <a:ext cx="9440333" cy="6858000"/>
          </a:xfrm>
          <a:prstGeom prst="rect">
            <a:avLst/>
          </a:prstGeom>
        </p:spPr>
      </p:pic>
      <p:pic>
        <p:nvPicPr>
          <p:cNvPr id="5" name="Picture 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1B9092B-B1B0-4D40-804A-96B26B6B9E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934"/>
          <a:stretch/>
        </p:blipFill>
        <p:spPr>
          <a:xfrm>
            <a:off x="0" y="0"/>
            <a:ext cx="292723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5D713C5-8038-3E46-A862-1CF418813E6D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B43CBA8-2583-234C-8E10-6B4BF16FF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4E7F766-50E7-DA47-BD4C-DCB2E8BA65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72B6B3-BBC7-524F-B73F-81CABB5D9003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7FE2E475-A56D-814B-B3A7-695220805A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F1E9D7CE-0090-3C4C-82CC-2ED1630C2B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384D6-0AEC-A343-9EF9-914FD2AA6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73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B98A07-C311-B04F-B642-83ECA42C36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5" r="1135"/>
          <a:stretch/>
        </p:blipFill>
        <p:spPr>
          <a:xfrm>
            <a:off x="7857705" y="506"/>
            <a:ext cx="4334295" cy="6856989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6BD58E3-44A5-3C44-99A9-DA45B1F173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1" y="694"/>
            <a:ext cx="7970913" cy="685661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BE8241D-4594-694A-8843-B599D7CD5C0E}"/>
              </a:ext>
            </a:extLst>
          </p:cNvPr>
          <p:cNvSpPr/>
          <p:nvPr/>
        </p:nvSpPr>
        <p:spPr>
          <a:xfrm>
            <a:off x="0" y="2175409"/>
            <a:ext cx="7970912" cy="2503808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6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6D34C67C-0ABC-764E-8BDF-403FE9A0C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239955E-F1CF-6642-9EE2-469C4C8919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26C289-4D6D-C14C-9E73-E4AB7540E90E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9ABD9A75-E9A1-FC42-8F53-6DB82AC53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99136DD-2321-EF46-B63E-D45E9BF8FE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64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47B81AA6-5C07-024A-B778-872EA380EF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" t="1127" r="740"/>
          <a:stretch/>
        </p:blipFill>
        <p:spPr>
          <a:xfrm>
            <a:off x="0" y="-6096"/>
            <a:ext cx="12192000" cy="68640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1F9036-983F-7549-AC79-26E9E3AC0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48D8E13-2CAC-DD4B-AFC4-0702D9F1C5E1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4B76A5D-141B-0842-B835-25D23FCF1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28E4A1-A0BA-E04D-9725-FD3EEFC5D47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43D3134A-EDF9-AA44-9116-86F0F031E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EDF8A6A7-5FEB-DF40-A7A4-141754C98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759824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60F49FF-F92B-CF4B-9CAD-C06CBDD308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" t="835" r="368" b="1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5" name="Picture 14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F60591B3-12D1-4E48-B5EA-F5749A8A7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850582"/>
            <a:ext cx="7071911" cy="168206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3B7F14-25B8-7F48-929B-ED22C68CAC80}"/>
              </a:ext>
            </a:extLst>
          </p:cNvPr>
          <p:cNvSpPr/>
          <p:nvPr/>
        </p:nvSpPr>
        <p:spPr>
          <a:xfrm rot="16200000">
            <a:off x="2698780" y="1159517"/>
            <a:ext cx="167435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6D85B695-EE81-CA4E-9127-0239DD1AF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6433F3-46AC-9142-91F3-0DDEFA123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E68647-B917-8A43-B6FB-E4FA23000EC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57F13B4E-4191-4242-BBB8-4B871E369B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32D339BB-8641-F44A-8CD6-C89C4D522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640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DD9A1-ACAA-484B-9FCF-329540B1C7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" t="632" r="943" b="1456"/>
          <a:stretch/>
        </p:blipFill>
        <p:spPr>
          <a:xfrm>
            <a:off x="2700761" y="-15603"/>
            <a:ext cx="9491239" cy="687360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3913F3-51D8-BE4A-A8E5-CA54FA3BBA88}"/>
              </a:ext>
            </a:extLst>
          </p:cNvPr>
          <p:cNvSpPr/>
          <p:nvPr/>
        </p:nvSpPr>
        <p:spPr>
          <a:xfrm>
            <a:off x="2763252" y="0"/>
            <a:ext cx="9209337" cy="6858000"/>
          </a:xfrm>
          <a:prstGeom prst="rect">
            <a:avLst/>
          </a:prstGeom>
          <a:gradFill>
            <a:gsLst>
              <a:gs pos="34000">
                <a:schemeClr val="tx1">
                  <a:alpha val="18000"/>
                  <a:lumMod val="87000"/>
                </a:schemeClr>
              </a:gs>
              <a:gs pos="56000">
                <a:schemeClr val="bg1">
                  <a:alpha val="0"/>
                  <a:lumMod val="52000"/>
                  <a:lumOff val="48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63251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D516E8-214B-9547-9951-10BE8A606E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24" t="388" r="9108" b="452"/>
          <a:stretch/>
        </p:blipFill>
        <p:spPr>
          <a:xfrm>
            <a:off x="0" y="0"/>
            <a:ext cx="276325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6DD800-756F-D34F-9E10-8A7D15863EB5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7BB80F3-0158-3343-9F59-79905DC60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F5C400DA-8D75-7E48-8CAB-5D30E8E70F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52F28F-3220-EE4E-BE85-8150E0598A1F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5A039134-FE78-DE46-AEA0-7FC8E217A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D3449C7-F677-9141-AA7E-C21D4D1B3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F7B885-CE7E-924E-8B3E-3ABEDC5A92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15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9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DAFAF5D-CDB1-A544-8751-719D1BF6D3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660" y="0"/>
            <a:ext cx="8304355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65F1266-E355-124D-9E12-53DECCDF2A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9" t="-1" b="378"/>
          <a:stretch/>
        </p:blipFill>
        <p:spPr>
          <a:xfrm>
            <a:off x="7982584" y="0"/>
            <a:ext cx="4209417" cy="68580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6E42490-4EAF-0F4D-B1C4-8CDFACCC2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B0857EE-2952-F74A-AB8C-E727CAA43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13C27FB-7571-2C43-BE98-4A478BA1AC48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24EEDFE-2871-BC47-8785-5A3A37020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700879FF-92D5-2240-9FC0-AAE3C1BFE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20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0AA4A-BDF6-5B4A-84AE-EDC943B6DD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395" y="889001"/>
            <a:ext cx="11425211" cy="4597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400" b="0" i="0" kern="1200" dirty="0">
                <a:solidFill>
                  <a:schemeClr val="accent2"/>
                </a:solidFill>
                <a:latin typeface="+mj-lt"/>
                <a:ea typeface="Helvetica Neue Thin" panose="020B0403020202020204" pitchFamily="34" charset="0"/>
                <a:cs typeface="+mn-cs"/>
              </a:defRPr>
            </a:lvl1pPr>
          </a:lstStyle>
          <a:p>
            <a:pPr marL="160863" lvl="0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Click to 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520C5E-DF02-6749-84F3-5F328EE0B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BDD9F9-47A7-2F4D-9FB4-D35E03D97B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394" y="1348740"/>
            <a:ext cx="11425209" cy="452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/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3000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103146-0ED8-B043-B2AD-C9BAFBB70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40236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67A53AE-C40D-DC47-B687-7A09C4D60F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5" t="595" r="537" b="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B99D566-C897-AF42-A1EE-C45EB31778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F692F4C-66BB-6649-8C2C-C8B4A1633A03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7581A4-48CD-EC41-BE7E-02EBA334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B731C6F-B8D5-DA4E-BD03-69BB2E7D9AA1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044D554D-4BB2-2845-8E43-BC7565E3B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C38D4122-43FD-B941-94FB-A611D4BCE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23690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693140-4E96-CA43-B4DD-89C6758A92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338"/>
            <a:ext cx="12192000" cy="68553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82C4F3-C10A-5547-A00E-B76DB7E8D2C7}"/>
              </a:ext>
            </a:extLst>
          </p:cNvPr>
          <p:cNvSpPr/>
          <p:nvPr/>
        </p:nvSpPr>
        <p:spPr>
          <a:xfrm>
            <a:off x="-3" y="0"/>
            <a:ext cx="3842484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6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6997" y="-2666994"/>
            <a:ext cx="6858003" cy="12191993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430A81-67F4-0A43-B7B6-17B89582D9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58293"/>
            <a:ext cx="7071909" cy="169924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FD1DCC9-C2A9-0E42-B7F6-6AF1AC55CD53}"/>
              </a:ext>
            </a:extLst>
          </p:cNvPr>
          <p:cNvSpPr/>
          <p:nvPr/>
        </p:nvSpPr>
        <p:spPr>
          <a:xfrm rot="16200000">
            <a:off x="2686333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A2EFD5D-A902-8D4B-A3F7-1AAEF32E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35467C-211F-2A43-BCC6-CEC48EF2D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D2DBC7A-1133-E24F-BC6C-76A5B91485F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8" name="Picture 27" descr="A close up of a sign&#10;&#10;Description automatically generated">
              <a:extLst>
                <a:ext uri="{FF2B5EF4-FFF2-40B4-BE49-F238E27FC236}">
                  <a16:creationId xmlns:a16="http://schemas.microsoft.com/office/drawing/2014/main" id="{6443DEF0-3C96-CC42-849D-B3F5C6153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DAE74374-E29C-1644-9A5C-1C54E35EFA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44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78B4277-F5CC-C74E-BA31-3779FCC32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3" t="393" b="1245"/>
          <a:stretch/>
        </p:blipFill>
        <p:spPr>
          <a:xfrm>
            <a:off x="2685327" y="0"/>
            <a:ext cx="9506673" cy="6858000"/>
          </a:xfrm>
          <a:prstGeom prst="rect">
            <a:avLst/>
          </a:prstGeom>
        </p:spPr>
      </p:pic>
      <p:pic>
        <p:nvPicPr>
          <p:cNvPr id="7" name="Picture 6" descr="A close up of a green field&#10;&#10;Description automatically generated">
            <a:extLst>
              <a:ext uri="{FF2B5EF4-FFF2-40B4-BE49-F238E27FC236}">
                <a16:creationId xmlns:a16="http://schemas.microsoft.com/office/drawing/2014/main" id="{303FC04E-6E8C-4A4F-8C39-460C84A986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66812"/>
          <a:stretch/>
        </p:blipFill>
        <p:spPr>
          <a:xfrm>
            <a:off x="-1" y="0"/>
            <a:ext cx="275766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1BB7A9-C5C0-DF4B-9FCD-28DD16890951}"/>
              </a:ext>
            </a:extLst>
          </p:cNvPr>
          <p:cNvSpPr/>
          <p:nvPr/>
        </p:nvSpPr>
        <p:spPr>
          <a:xfrm>
            <a:off x="2757659" y="0"/>
            <a:ext cx="9431280" cy="6858000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24000"/>
                </a:srgbClr>
              </a:gs>
            </a:gsLst>
            <a:lin ang="210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AE2D78-5EF4-E243-84C9-A76DF898C39A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BDAD0-8E9A-7F40-8C17-043FD40BC0C3}"/>
              </a:ext>
            </a:extLst>
          </p:cNvPr>
          <p:cNvSpPr/>
          <p:nvPr/>
        </p:nvSpPr>
        <p:spPr>
          <a:xfrm>
            <a:off x="3133215" y="4373397"/>
            <a:ext cx="905878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C7F10-4C83-9041-96D5-D07176B0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8392" y="4672422"/>
            <a:ext cx="8623680" cy="1177609"/>
          </a:xfrm>
        </p:spPr>
        <p:txBody>
          <a:bodyPr anchor="t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Cover text styles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7B1E6788-D654-8641-BE8D-32CB938A6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8107" y="5874717"/>
            <a:ext cx="8623680" cy="333259"/>
          </a:xfrm>
        </p:spPr>
        <p:txBody>
          <a:bodyPr anchor="t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Cov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D20B396-6F50-0B40-B619-E62DE8B0A9A5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351C60B2-4E9F-144A-B690-AEEBBC773A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7A1A39B5-4E45-A843-92E4-B6E4146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  <p:pic>
        <p:nvPicPr>
          <p:cNvPr id="24" name="Picture 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EE8E53-67DE-544C-9DE8-C783415F53F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149" y="396961"/>
            <a:ext cx="5862636" cy="122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632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3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green field&#10;&#10;Description automatically generated">
            <a:extLst>
              <a:ext uri="{FF2B5EF4-FFF2-40B4-BE49-F238E27FC236}">
                <a16:creationId xmlns:a16="http://schemas.microsoft.com/office/drawing/2014/main" id="{E1349319-FCBF-4D40-B3A3-A720B97171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" t="14221" r="15976" b="714"/>
          <a:stretch/>
        </p:blipFill>
        <p:spPr>
          <a:xfrm>
            <a:off x="1" y="1"/>
            <a:ext cx="7982583" cy="687595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F61621-9653-824B-9D09-B6F7BD756DB6}"/>
              </a:ext>
            </a:extLst>
          </p:cNvPr>
          <p:cNvSpPr/>
          <p:nvPr/>
        </p:nvSpPr>
        <p:spPr>
          <a:xfrm rot="16200000">
            <a:off x="2783243" y="-681722"/>
            <a:ext cx="2743200" cy="830967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746F48-2838-A343-BDFA-79F262A6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2583" y="1"/>
            <a:ext cx="4209415" cy="687595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74B98C7-1FCE-FE4A-AC82-3A5063681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287" y="2323254"/>
            <a:ext cx="7453459" cy="1611085"/>
          </a:xfrm>
        </p:spPr>
        <p:txBody>
          <a:bodyPr anchor="t"/>
          <a:lstStyle>
            <a:lvl1pPr algn="l">
              <a:defRPr sz="5333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Template Cover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D211F2-05B3-034E-B1C2-9F8DA5FDD1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B02D7D-4A98-424F-BA4C-B57EFFAD22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8001" y="3972048"/>
            <a:ext cx="7453743" cy="501651"/>
          </a:xfrm>
        </p:spPr>
        <p:txBody>
          <a:bodyPr>
            <a:normAutofit/>
          </a:bodyPr>
          <a:lstStyle>
            <a:lvl1pPr algn="l">
              <a:defRPr sz="1867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Cov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42B18D-C2CA-2D48-ACF3-F2641DE00CE4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710AD78-020E-1C4F-B593-8752F74D72CB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6D669864-6085-D84D-879D-A0EE425D8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04B7D0F8-2E0A-014D-9C29-DCD74ABA66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8152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527">
          <p15:clr>
            <a:srgbClr val="FBAE40"/>
          </p15:clr>
        </p15:guide>
        <p15:guide id="2" pos="312">
          <p15:clr>
            <a:srgbClr val="FBAE40"/>
          </p15:clr>
        </p15:guide>
        <p15:guide id="3" orient="horz" pos="310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green field&#10;&#10;Description automatically generated">
            <a:extLst>
              <a:ext uri="{FF2B5EF4-FFF2-40B4-BE49-F238E27FC236}">
                <a16:creationId xmlns:a16="http://schemas.microsoft.com/office/drawing/2014/main" id="{379F7B3B-D297-084F-885F-602D8FCAFA5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" y="652"/>
            <a:ext cx="12191999" cy="685669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E2CF6DA-9596-9045-844D-C6A891DC4116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236D82-DA6D-B641-BEBC-F0AC00B856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9DCA4DE-23E5-6441-9351-1E0D12B000B4}"/>
              </a:ext>
            </a:extLst>
          </p:cNvPr>
          <p:cNvSpPr/>
          <p:nvPr/>
        </p:nvSpPr>
        <p:spPr>
          <a:xfrm>
            <a:off x="1" y="2380007"/>
            <a:ext cx="9078137" cy="2097987"/>
          </a:xfrm>
          <a:prstGeom prst="rect">
            <a:avLst/>
          </a:prstGeom>
          <a:solidFill>
            <a:srgbClr val="000000">
              <a:alpha val="4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B514B3-3256-764E-97DF-E4F8B85494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6903" y="2581166"/>
            <a:ext cx="8584331" cy="1695669"/>
          </a:xfrm>
        </p:spPr>
        <p:txBody>
          <a:bodyPr anchor="ctr"/>
          <a:lstStyle>
            <a:lvl1pPr algn="l">
              <a:defRPr sz="4267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88AD7A-426E-BA40-AB43-93301D717CEA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19" name="Picture 18" descr="A close up of a sign&#10;&#10;Description automatically generated">
              <a:extLst>
                <a:ext uri="{FF2B5EF4-FFF2-40B4-BE49-F238E27FC236}">
                  <a16:creationId xmlns:a16="http://schemas.microsoft.com/office/drawing/2014/main" id="{A1050FCC-B049-1146-9323-B16744667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82392A73-ECE5-384C-A817-C1E7BBC5F8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45813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A27EC0-66BF-8B43-BD9A-C844666513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57" y="0"/>
            <a:ext cx="1218988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A7B8AF8-99B8-DE46-AC24-8E239E5915AC}"/>
              </a:ext>
            </a:extLst>
          </p:cNvPr>
          <p:cNvSpPr/>
          <p:nvPr/>
        </p:nvSpPr>
        <p:spPr>
          <a:xfrm rot="16200000">
            <a:off x="2667003" y="-2666998"/>
            <a:ext cx="6857997" cy="12191996"/>
          </a:xfrm>
          <a:prstGeom prst="rect">
            <a:avLst/>
          </a:prstGeom>
          <a:gradFill>
            <a:gsLst>
              <a:gs pos="33000">
                <a:srgbClr val="000000">
                  <a:alpha val="0"/>
                </a:srgbClr>
              </a:gs>
              <a:gs pos="66000">
                <a:srgbClr val="000000">
                  <a:alpha val="0"/>
                </a:srgbClr>
              </a:gs>
              <a:gs pos="99000">
                <a:srgbClr val="000000">
                  <a:alpha val="3700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3CF23-63E9-974D-B428-279EC9AC82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" y="3874796"/>
            <a:ext cx="7071909" cy="16886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834D070-8761-D542-8935-3E4109017343}"/>
              </a:ext>
            </a:extLst>
          </p:cNvPr>
          <p:cNvSpPr/>
          <p:nvPr/>
        </p:nvSpPr>
        <p:spPr>
          <a:xfrm rot="16200000">
            <a:off x="2686335" y="1171961"/>
            <a:ext cx="1699243" cy="7071908"/>
          </a:xfrm>
          <a:prstGeom prst="rect">
            <a:avLst/>
          </a:prstGeom>
          <a:gradFill>
            <a:gsLst>
              <a:gs pos="2655">
                <a:srgbClr val="000000">
                  <a:alpha val="57000"/>
                  <a:lumMod val="32000"/>
                </a:srgbClr>
              </a:gs>
              <a:gs pos="66000">
                <a:srgbClr val="000000">
                  <a:alpha val="17000"/>
                </a:srgbClr>
              </a:gs>
              <a:gs pos="100000">
                <a:srgbClr val="000000">
                  <a:alpha val="1300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/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E5E9D5A-7427-5B48-AECA-7B9181E128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8375" y="4973479"/>
            <a:ext cx="6635648" cy="427512"/>
          </a:xfrm>
        </p:spPr>
        <p:txBody>
          <a:bodyPr anchor="b">
            <a:noAutofit/>
          </a:bodyPr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E9FE4EA-89A0-7742-A401-0253214A2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375" y="4023041"/>
            <a:ext cx="6635648" cy="1061207"/>
          </a:xfrm>
        </p:spPr>
        <p:txBody>
          <a:bodyPr anchor="t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r>
              <a:rPr lang="en-US"/>
              <a:t>Divider Slid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89B9BC-4B06-114E-9740-347300855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829" y="440013"/>
            <a:ext cx="3882319" cy="80881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0987177-7E2F-2F4C-9CAC-C2DE2235448C}"/>
              </a:ext>
            </a:extLst>
          </p:cNvPr>
          <p:cNvSpPr/>
          <p:nvPr/>
        </p:nvSpPr>
        <p:spPr>
          <a:xfrm>
            <a:off x="5159687" y="6472990"/>
            <a:ext cx="187262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C54C80-4B09-AB47-BA67-689950D8311C}"/>
              </a:ext>
            </a:extLst>
          </p:cNvPr>
          <p:cNvGrpSpPr/>
          <p:nvPr/>
        </p:nvGrpSpPr>
        <p:grpSpPr>
          <a:xfrm>
            <a:off x="380381" y="5836618"/>
            <a:ext cx="1973352" cy="66113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FCB45797-05E1-B44E-B0A3-EA08D95D7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B90B4E83-85A2-2649-B0CE-BB19C2720A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9566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1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E39ED2-23E6-0241-83F5-E697607FBF52}"/>
              </a:ext>
            </a:extLst>
          </p:cNvPr>
          <p:cNvSpPr/>
          <p:nvPr/>
        </p:nvSpPr>
        <p:spPr>
          <a:xfrm>
            <a:off x="6096000" y="1"/>
            <a:ext cx="6096000" cy="6270172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397" y="204645"/>
            <a:ext cx="5291473" cy="1235172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DC9D50-4E3D-CB4C-B9B5-F228C916BF2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6247" y="365895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00BFE1D-E62E-1E44-A213-1D0752352B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8147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E12B16E-1923-234A-ACB8-691381ABAE4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796247" y="841383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BC5B3F3-6A23-0C4F-8096-4436F67C0E6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96246" y="1544409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B8D1CAC-51B0-174F-8500-2B89F106A8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8655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A1EF5B61-2243-4A4D-BE07-ECF21856426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796246" y="2019897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F7BDB5-5936-AD42-9D55-514FDBACB7D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796244" y="2720028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A5C4FD3-2CB2-0146-90FD-691CF99328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686556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31006F4-AC93-A848-ABFE-C2EF95EBA0F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796244" y="3195516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179E908-641A-5442-BA77-A7E44726243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796244" y="389564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0BE9F43-9B3D-4044-BC4E-7E3BA835BC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8147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8AFA3CEA-07A9-2846-8E33-9A40B594CF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796244" y="437113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FD44F2B-989D-B14F-9249-0B1CFC241B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796244" y="507126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DBF1F09E-2235-7F48-9314-5A46F45E8A4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686556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19351DC-386B-8D4E-9849-D4463DC0C0D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96244" y="554675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D2C81F-0597-1843-AE5F-44DDFBBBD5B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3395" y="1436911"/>
            <a:ext cx="5268251" cy="42679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667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tabLst/>
              <a:defRPr lang="en-US" sz="2400" b="0" i="0" kern="1200" baseline="0" dirty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0DE17E5-6C5E-384F-A4D3-283BA685FD55}"/>
              </a:ext>
            </a:extLst>
          </p:cNvPr>
          <p:cNvCxnSpPr>
            <a:cxnSpLocks/>
          </p:cNvCxnSpPr>
          <p:nvPr/>
        </p:nvCxnSpPr>
        <p:spPr>
          <a:xfrm>
            <a:off x="7689720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10A3CB-C090-A94B-AEBC-DCD29FA1E36A}"/>
              </a:ext>
            </a:extLst>
          </p:cNvPr>
          <p:cNvCxnSpPr>
            <a:cxnSpLocks/>
          </p:cNvCxnSpPr>
          <p:nvPr/>
        </p:nvCxnSpPr>
        <p:spPr>
          <a:xfrm>
            <a:off x="7689720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CFE109A-2FE4-4842-8676-530C4DCB9153}"/>
              </a:ext>
            </a:extLst>
          </p:cNvPr>
          <p:cNvCxnSpPr>
            <a:cxnSpLocks/>
          </p:cNvCxnSpPr>
          <p:nvPr/>
        </p:nvCxnSpPr>
        <p:spPr>
          <a:xfrm>
            <a:off x="7689720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9DC11E-9BA7-794C-94EE-EC24C50B3041}"/>
              </a:ext>
            </a:extLst>
          </p:cNvPr>
          <p:cNvCxnSpPr>
            <a:cxnSpLocks/>
          </p:cNvCxnSpPr>
          <p:nvPr/>
        </p:nvCxnSpPr>
        <p:spPr>
          <a:xfrm>
            <a:off x="7689720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8952BEA-2213-4949-BD9A-021C34C69C63}"/>
              </a:ext>
            </a:extLst>
          </p:cNvPr>
          <p:cNvCxnSpPr>
            <a:cxnSpLocks/>
          </p:cNvCxnSpPr>
          <p:nvPr/>
        </p:nvCxnSpPr>
        <p:spPr>
          <a:xfrm>
            <a:off x="7689720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8660454D-08C8-AB4C-8DAC-6CC64498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05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45">
          <p15:clr>
            <a:srgbClr val="FBAE40"/>
          </p15:clr>
        </p15:guide>
        <p15:guide id="2" pos="2754">
          <p15:clr>
            <a:srgbClr val="FBAE40"/>
          </p15:clr>
        </p15:guide>
        <p15:guide id="3" orient="horz" pos="2156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orient="horz" pos="2711">
          <p15:clr>
            <a:srgbClr val="FBAE40"/>
          </p15:clr>
        </p15:guide>
        <p15:guide id="6" orient="horz" pos="1601">
          <p15:clr>
            <a:srgbClr val="FBAE40"/>
          </p15:clr>
        </p15:guide>
        <p15:guide id="7" orient="horz" pos="1390">
          <p15:clr>
            <a:srgbClr val="FBAE40"/>
          </p15:clr>
        </p15:guide>
        <p15:guide id="8" orient="horz" pos="1046">
          <p15:clr>
            <a:srgbClr val="FBAE40"/>
          </p15:clr>
        </p15:guide>
        <p15:guide id="9" orient="horz" pos="832">
          <p15:clr>
            <a:srgbClr val="FBAE40"/>
          </p15:clr>
        </p15:guide>
        <p15:guide id="10" orient="horz" pos="489">
          <p15:clr>
            <a:srgbClr val="FBAE40"/>
          </p15:clr>
        </p15:guide>
        <p15:guide id="11" orient="horz" pos="27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erson sitting at a table with a computer and smiling at the camera&#10;&#10;Description automatically generated">
            <a:extLst>
              <a:ext uri="{FF2B5EF4-FFF2-40B4-BE49-F238E27FC236}">
                <a16:creationId xmlns:a16="http://schemas.microsoft.com/office/drawing/2014/main" id="{95289ED6-22CB-3841-B9A4-B6BDC300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709" y="1"/>
            <a:ext cx="4229291" cy="6270169"/>
          </a:xfrm>
          <a:prstGeom prst="rect">
            <a:avLst/>
          </a:prstGeom>
        </p:spPr>
      </p:pic>
      <p:pic>
        <p:nvPicPr>
          <p:cNvPr id="4" name="Picture 3" descr="A picture containing sitting, fireworks, grass, water&#10;&#10;Description automatically generated">
            <a:extLst>
              <a:ext uri="{FF2B5EF4-FFF2-40B4-BE49-F238E27FC236}">
                <a16:creationId xmlns:a16="http://schemas.microsoft.com/office/drawing/2014/main" id="{AA5C325F-4A68-544E-9FFF-FFA03FF887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1" r="66084" b="433"/>
          <a:stretch/>
        </p:blipFill>
        <p:spPr>
          <a:xfrm>
            <a:off x="6113377" y="1"/>
            <a:ext cx="2531843" cy="627016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05" y="204645"/>
            <a:ext cx="5514623" cy="684355"/>
          </a:xfrm>
        </p:spPr>
        <p:txBody>
          <a:bodyPr anchor="t"/>
          <a:lstStyle/>
          <a:p>
            <a:r>
              <a:rPr lang="en-US"/>
              <a:t>Click to Add Title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FA793AB3-DCD5-0640-A2DA-896E5335DB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0480" y="1377493"/>
            <a:ext cx="3756416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3E0D0984-A55E-2841-B60B-21DE166D6C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5705" y="1377498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38D71896-0420-2442-8989-13784C60FD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00480" y="1852981"/>
            <a:ext cx="3756416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2B143784-D8F6-E940-9FF9-DF298016456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500480" y="2556008"/>
            <a:ext cx="3756417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6290917C-F9FF-F740-A706-053C4A763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90790" y="2556010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95B97AFB-A90D-3E44-9D39-315D3769F8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500480" y="3031496"/>
            <a:ext cx="3756417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85829481-6D7B-F045-8EE9-B4C1ECD75B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500477" y="3731627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DDFAAB57-C865-E142-8013-DC08424C321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90790" y="3731627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82E86A85-4E44-8349-A22F-97196BA2E14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500477" y="4207115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8B0C214-3DE4-C248-B534-D6D2F1B6FC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500477" y="4907245"/>
            <a:ext cx="375641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F54927C7-10AB-6541-9CAD-DF24D237EE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5705" y="4907245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CF5B1F37-AEB6-BE44-A4A4-3636711C9D0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500477" y="5382733"/>
            <a:ext cx="375641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E14D27-3377-554F-95D1-74791DD94F72}"/>
              </a:ext>
            </a:extLst>
          </p:cNvPr>
          <p:cNvCxnSpPr>
            <a:cxnSpLocks/>
          </p:cNvCxnSpPr>
          <p:nvPr/>
        </p:nvCxnSpPr>
        <p:spPr>
          <a:xfrm>
            <a:off x="1393953" y="507329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B908FAE-22D5-EB40-B26F-79336CC1F35B}"/>
              </a:ext>
            </a:extLst>
          </p:cNvPr>
          <p:cNvCxnSpPr>
            <a:cxnSpLocks/>
          </p:cNvCxnSpPr>
          <p:nvPr/>
        </p:nvCxnSpPr>
        <p:spPr>
          <a:xfrm>
            <a:off x="1393953" y="389767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8A06532-A4BA-CD4E-B533-E1BDE8537DA5}"/>
              </a:ext>
            </a:extLst>
          </p:cNvPr>
          <p:cNvCxnSpPr>
            <a:cxnSpLocks/>
          </p:cNvCxnSpPr>
          <p:nvPr/>
        </p:nvCxnSpPr>
        <p:spPr>
          <a:xfrm>
            <a:off x="1393953" y="272205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4ED5B35-5E30-724B-87D0-46C006B35C03}"/>
              </a:ext>
            </a:extLst>
          </p:cNvPr>
          <p:cNvCxnSpPr>
            <a:cxnSpLocks/>
          </p:cNvCxnSpPr>
          <p:nvPr/>
        </p:nvCxnSpPr>
        <p:spPr>
          <a:xfrm>
            <a:off x="1393953" y="1543545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49033DAB-530B-4845-B3C4-46C687E99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D62CF837-910E-5748-B034-7862E21ED69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13376" y="-2"/>
            <a:ext cx="6078624" cy="6270171"/>
          </a:xfrm>
          <a:prstGeom prst="rect">
            <a:avLst/>
          </a:prstGeom>
        </p:spPr>
        <p:txBody>
          <a:bodyPr vert="horz" lIns="640080" tIns="45720" rIns="640080" bIns="45720" rtlCol="0" anchor="ctr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lang="en-US" sz="1333">
                <a:solidFill>
                  <a:schemeClr val="bg1"/>
                </a:solidFill>
                <a:highlight>
                  <a:srgbClr val="80B9F9"/>
                </a:highlight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91532604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95099DE8-574F-9041-8E2B-79625CE7D6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94158" y="365895"/>
            <a:ext cx="5171605" cy="449280"/>
          </a:xfrm>
          <a:prstGeom prst="rect">
            <a:avLst/>
          </a:prstGeom>
        </p:spPr>
        <p:txBody>
          <a:bodyPr lIns="0" bIns="0" anchor="b"/>
          <a:lstStyle>
            <a:lvl1pPr>
              <a:defRPr sz="1867" b="1">
                <a:solidFill>
                  <a:schemeClr val="accent2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C1CCAC30-5492-DA47-BC16-AF81DEEE085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79382" y="365899"/>
            <a:ext cx="901721" cy="924764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2"/>
                </a:solidFill>
              </a:defRPr>
            </a:lvl1pPr>
          </a:lstStyle>
          <a:p>
            <a:pPr lvl="0" algn="ctr"/>
            <a:r>
              <a:rPr lang="en-US"/>
              <a:t>01</a:t>
            </a: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48B7EFB6-5D6B-2140-B682-F250745FAD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194158" y="841383"/>
            <a:ext cx="5171605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4F253BC2-F500-3148-B49B-29A1793CFA6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94156" y="1544409"/>
            <a:ext cx="5171608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D85B2A18-ED79-A44D-9AFB-C32B455A48E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084467" y="1544411"/>
            <a:ext cx="896636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i="0" kern="1200" dirty="0">
                <a:solidFill>
                  <a:schemeClr val="tx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</a:lstStyle>
          <a:p>
            <a:pPr marL="0" lvl="0" indent="0" algn="ctr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6C18B101-901D-774D-A6E3-D83A2A86AB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94156" y="2019897"/>
            <a:ext cx="5171608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9F42745A-769E-4A43-9851-1FFB3BC94A9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94154" y="2720028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9D1AAF0F-2C2A-734B-B00F-F061AE6DE21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084467" y="2720028"/>
            <a:ext cx="896637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1"/>
                </a:solidFill>
              </a:defRPr>
            </a:lvl1pPr>
          </a:lstStyle>
          <a:p>
            <a:pPr lvl="0" algn="ctr"/>
            <a:r>
              <a:rPr lang="en-US"/>
              <a:t>03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8D272742-9404-1A41-B499-41B229D7A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94154" y="3195516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7282B8FA-E88E-5B41-83AA-2ED3D85AC86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4154" y="3895647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accent3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ED35D191-5360-274D-8339-74CA37A4B9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79382" y="3895647"/>
            <a:ext cx="901721" cy="924768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accent3"/>
                </a:solidFill>
              </a:defRPr>
            </a:lvl1pPr>
          </a:lstStyle>
          <a:p>
            <a:pPr lvl="0" algn="ctr"/>
            <a:r>
              <a:rPr lang="en-US"/>
              <a:t>04</a:t>
            </a:r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A9E01E94-A714-D248-B7D1-777452121A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94154" y="4371135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69827C6E-2E5A-654F-8129-EECF7C674BF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94154" y="5071265"/>
            <a:ext cx="5171609" cy="449280"/>
          </a:xfrm>
          <a:prstGeom prst="rect">
            <a:avLst/>
          </a:prstGeom>
        </p:spPr>
        <p:txBody>
          <a:bodyPr lIns="0" bIns="0" anchor="b"/>
          <a:lstStyle>
            <a:lvl1pPr>
              <a:defRPr lang="en-US" sz="1867" b="1" i="0" kern="1200" dirty="0">
                <a:solidFill>
                  <a:schemeClr val="bg2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AEEFF60B-AB80-7C4E-AE06-84447952CB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084467" y="5071267"/>
            <a:ext cx="896637" cy="924767"/>
          </a:xfrm>
          <a:prstGeom prst="rect">
            <a:avLst/>
          </a:prstGeom>
        </p:spPr>
        <p:txBody>
          <a:bodyPr vert="horz" lIns="91440" tIns="45720" rIns="0" bIns="0" rtlCol="0" anchor="ctr">
            <a:noAutofit/>
          </a:bodyPr>
          <a:lstStyle>
            <a:lvl1pPr algn="ctr">
              <a:defRPr lang="en-US" sz="4267" b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05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001E0006-A93F-5D4E-B60E-1159575D15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94154" y="5546753"/>
            <a:ext cx="5171609" cy="449280"/>
          </a:xfrm>
          <a:prstGeom prst="rect">
            <a:avLst/>
          </a:prstGeom>
        </p:spPr>
        <p:txBody>
          <a:bodyPr lIns="0" tIns="0" anchor="t"/>
          <a:lstStyle>
            <a:lvl1pPr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2400"/>
            </a:lvl2pPr>
            <a:lvl3pPr>
              <a:defRPr sz="2133"/>
            </a:lvl3pPr>
            <a:lvl4pPr>
              <a:defRPr sz="2133"/>
            </a:lvl4pPr>
            <a:lvl5pPr>
              <a:defRPr sz="1867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39C5B0B-1272-1A46-9F84-72356DD13D74}"/>
              </a:ext>
            </a:extLst>
          </p:cNvPr>
          <p:cNvCxnSpPr>
            <a:cxnSpLocks/>
          </p:cNvCxnSpPr>
          <p:nvPr/>
        </p:nvCxnSpPr>
        <p:spPr>
          <a:xfrm>
            <a:off x="6087631" y="5237316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265482E-CCD0-7846-B969-D7D97C615087}"/>
              </a:ext>
            </a:extLst>
          </p:cNvPr>
          <p:cNvCxnSpPr>
            <a:cxnSpLocks/>
          </p:cNvCxnSpPr>
          <p:nvPr/>
        </p:nvCxnSpPr>
        <p:spPr>
          <a:xfrm>
            <a:off x="6087631" y="406169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984A4B3-E99F-7749-90E7-2C6E22E3CBDB}"/>
              </a:ext>
            </a:extLst>
          </p:cNvPr>
          <p:cNvCxnSpPr>
            <a:cxnSpLocks/>
          </p:cNvCxnSpPr>
          <p:nvPr/>
        </p:nvCxnSpPr>
        <p:spPr>
          <a:xfrm>
            <a:off x="6087631" y="2886079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9C01CEA-6C4C-BF4A-9905-36DE0F7CCDA5}"/>
              </a:ext>
            </a:extLst>
          </p:cNvPr>
          <p:cNvCxnSpPr>
            <a:cxnSpLocks/>
          </p:cNvCxnSpPr>
          <p:nvPr/>
        </p:nvCxnSpPr>
        <p:spPr>
          <a:xfrm>
            <a:off x="6087631" y="1710460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2C2A6EB-33DC-2843-AE4F-60FBEE0A4511}"/>
              </a:ext>
            </a:extLst>
          </p:cNvPr>
          <p:cNvCxnSpPr>
            <a:cxnSpLocks/>
          </p:cNvCxnSpPr>
          <p:nvPr/>
        </p:nvCxnSpPr>
        <p:spPr>
          <a:xfrm>
            <a:off x="6087631" y="531947"/>
            <a:ext cx="0" cy="592667"/>
          </a:xfrm>
          <a:prstGeom prst="line">
            <a:avLst/>
          </a:prstGeom>
          <a:ln w="19050" cap="rnd" cmpd="sng">
            <a:solidFill>
              <a:schemeClr val="bg1">
                <a:lumMod val="50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CBFDDF4-0565-424E-AFE7-6000EF98D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9119" y="2566337"/>
            <a:ext cx="3654215" cy="11374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Title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CEAB0D7-EE10-3240-ACA1-CAE55C902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pic>
        <p:nvPicPr>
          <p:cNvPr id="30" name="Picture 29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AB167D74-A4B8-AA45-8E77-F9ED2F62A4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" t="1215"/>
          <a:stretch/>
        </p:blipFill>
        <p:spPr>
          <a:xfrm>
            <a:off x="-1" y="-6097"/>
            <a:ext cx="4402145" cy="6275663"/>
          </a:xfrm>
          <a:prstGeom prst="rect">
            <a:avLst/>
          </a:prstGeom>
        </p:spPr>
      </p:pic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EE00522D-98A5-064E-B37C-B66BA2BE6C8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-1" y="-1"/>
            <a:ext cx="4402145" cy="6264077"/>
          </a:xfrm>
          <a:prstGeom prst="rect">
            <a:avLst/>
          </a:prstGeom>
        </p:spPr>
        <p:txBody>
          <a:bodyPr vert="horz" lIns="548640" tIns="1554480" rIns="548640" bIns="45720" rtlCol="0" anchor="t">
            <a:noAutofit/>
          </a:bodyPr>
          <a:lstStyle>
            <a:lvl1pPr>
              <a:defRPr lang="en-US" sz="1067" dirty="0">
                <a:solidFill>
                  <a:schemeClr val="bg1">
                    <a:alpha val="88000"/>
                  </a:schemeClr>
                </a:solidFill>
                <a:highlight>
                  <a:srgbClr val="80B9F9"/>
                </a:highlight>
              </a:defRPr>
            </a:lvl1pPr>
          </a:lstStyle>
          <a:p>
            <a:pPr marR="0" lvl="0" algn="ctr" fontAlgn="auto">
              <a:buSzTx/>
              <a:tabLst/>
            </a:pPr>
            <a:r>
              <a:rPr lang="en-US"/>
              <a:t>Click icon to change image, or delete the overlay to keep existing image</a:t>
            </a:r>
          </a:p>
        </p:txBody>
      </p:sp>
    </p:spTree>
    <p:extLst>
      <p:ext uri="{BB962C8B-B14F-4D97-AF65-F5344CB8AC3E}">
        <p14:creationId xmlns:p14="http://schemas.microsoft.com/office/powerpoint/2010/main" val="25066671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5" Type="http://schemas.openxmlformats.org/officeDocument/2006/relationships/theme" Target="../theme/theme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9.xml"/><Relationship Id="rId9" Type="http://schemas.microsoft.com/office/2007/relationships/hdphoto" Target="../media/hdphoto2.wdp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4.png"/><Relationship Id="rId5" Type="http://schemas.openxmlformats.org/officeDocument/2006/relationships/theme" Target="../theme/them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microsoft.com/office/2007/relationships/hdphoto" Target="../media/hdphoto6.wdp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51.jpeg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7.xml"/><Relationship Id="rId9" Type="http://schemas.microsoft.com/office/2007/relationships/hdphoto" Target="../media/hdphoto10.wdp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7.png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microsoft.com/office/2007/relationships/hdphoto" Target="../media/hdphoto14.wdp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microsoft.com/office/2007/relationships/hdphoto" Target="../media/hdphoto18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10A9F2-A1E0-E94D-82A3-588C1C5F1A1D}"/>
              </a:ext>
            </a:extLst>
          </p:cNvPr>
          <p:cNvSpPr/>
          <p:nvPr/>
        </p:nvSpPr>
        <p:spPr>
          <a:xfrm>
            <a:off x="0" y="6267980"/>
            <a:ext cx="12192000" cy="59002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A85343-723A-3440-A14C-8D2A91DCAE98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31DDE-E6BB-EF45-952A-D0FA21CC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51E2FDE-C943-DC49-81D4-58535D13C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BB477A-C9AB-4E42-BEA0-CDEC44B18175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D85B9D30-0856-2A44-8F9F-A576604A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0" name="Picture 19" descr="A close up of a sign&#10;&#10;Description automatically generated">
              <a:extLst>
                <a:ext uri="{FF2B5EF4-FFF2-40B4-BE49-F238E27FC236}">
                  <a16:creationId xmlns:a16="http://schemas.microsoft.com/office/drawing/2014/main" id="{CDC8142B-67DB-9540-81FA-1B3130036B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734" r:id="rId21"/>
  </p:sldLayoutIdLst>
  <p:transition>
    <p:fade/>
  </p:transition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tx2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160863" indent="-160863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2667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 smtClean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⁃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◦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System Font Regular"/>
        <a:buChar char="‣"/>
        <a:tabLst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DBB97A2-614B-BD46-839B-031064799D6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EDB9C8F-3113-1149-9003-8544FAC473F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9AF60A1C-96C1-9C4A-B5D8-7FAEE70227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8E7C997B-356E-884C-B228-A4F8ED478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821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lang="en-US" sz="2667" b="0" i="0" kern="120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◦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lang="en-US" sz="2400" b="0" i="0" kern="1200" baseline="0" dirty="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5E2C7-9DEE-2749-8D3E-424DEB13B151}"/>
              </a:ext>
            </a:extLst>
          </p:cNvPr>
          <p:cNvSpPr/>
          <p:nvPr/>
        </p:nvSpPr>
        <p:spPr>
          <a:xfrm>
            <a:off x="5159688" y="6472990"/>
            <a:ext cx="1872629" cy="25654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tx1">
                    <a:lumMod val="50000"/>
                  </a:schemeClr>
                </a:solidFill>
              </a:rPr>
              <a:t>Confidential and Propriet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4F7E3-E31D-6245-96D7-7EB7AAC4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 First level bullet</a:t>
            </a:r>
          </a:p>
          <a:p>
            <a:pPr lvl="2"/>
            <a:r>
              <a:rPr lang="en-US"/>
              <a:t>Second level bullet</a:t>
            </a:r>
          </a:p>
          <a:p>
            <a:pPr lvl="3"/>
            <a:r>
              <a:rPr lang="en-US"/>
              <a:t>Third level bullet</a:t>
            </a:r>
          </a:p>
          <a:p>
            <a:pPr lvl="4"/>
            <a:r>
              <a:rPr lang="en-US"/>
              <a:t>Fourth level bullet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ACF804F-C6C2-1B46-823A-D918C287F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089B88-B6FF-EB46-BD00-8F90CF125F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6" y="6350767"/>
            <a:ext cx="2413103" cy="4342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21F2199-D67B-FF4B-B21C-77A3148FF3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CF9E8360-7A19-A040-B093-CEB7431F7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17" name="Picture 16" descr="A close up of a sign&#10;&#10;Description automatically generated">
              <a:extLst>
                <a:ext uri="{FF2B5EF4-FFF2-40B4-BE49-F238E27FC236}">
                  <a16:creationId xmlns:a16="http://schemas.microsoft.com/office/drawing/2014/main" id="{371D90C3-0694-DC41-BAB7-62E3362C2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332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rgbClr val="0088D0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2"/>
        </a:buClr>
        <a:buFont typeface="Arial" panose="020B0604020202020204" pitchFamily="34" charset="0"/>
        <a:buNone/>
        <a:defRPr sz="32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667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⁃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58492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System Font Regular"/>
        <a:buChar char="◦"/>
        <a:tabLst/>
        <a:defRPr sz="2133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SzPct val="90000"/>
        <a:buFont typeface="System Font Regular"/>
        <a:buChar char="‣"/>
        <a:tabLst/>
        <a:defRPr sz="1867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">
          <p15:clr>
            <a:srgbClr val="F26B43"/>
          </p15:clr>
        </p15:guide>
        <p15:guide id="2" pos="2880">
          <p15:clr>
            <a:srgbClr val="F26B43"/>
          </p15:clr>
        </p15:guide>
        <p15:guide id="3" pos="168">
          <p15:clr>
            <a:srgbClr val="F26B43"/>
          </p15:clr>
        </p15:guide>
        <p15:guide id="5" orient="horz" pos="3163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425">
          <p15:clr>
            <a:srgbClr val="F26B43"/>
          </p15:clr>
        </p15:guide>
        <p15:guide id="8" orient="horz" pos="5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ss, outdoor, water, sitting&#10;&#10;Description automatically generated">
            <a:extLst>
              <a:ext uri="{FF2B5EF4-FFF2-40B4-BE49-F238E27FC236}">
                <a16:creationId xmlns:a16="http://schemas.microsoft.com/office/drawing/2014/main" id="{9117407E-E03D-7F42-9AF9-9E651C3260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-1" y="6267979"/>
            <a:ext cx="12191999" cy="59002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2E0ADB-35FD-7B46-A214-BC52654E7EC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2D3820C-9DF6-384C-B100-D65967606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84A0A-FF64-C44E-8A68-931060F8BD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90C657C-DD50-0647-A9EA-EA2C251FA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A597BC-6DC9-DE48-84DD-A1B78C39F7D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5" name="Picture 24" descr="A close up of a sign&#10;&#10;Description automatically generated">
              <a:extLst>
                <a:ext uri="{FF2B5EF4-FFF2-40B4-BE49-F238E27FC236}">
                  <a16:creationId xmlns:a16="http://schemas.microsoft.com/office/drawing/2014/main" id="{3D61CCC1-757B-4545-9DB2-15862F0B2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6" name="Picture 25" descr="A close up of a sign&#10;&#10;Description automatically generated">
              <a:extLst>
                <a:ext uri="{FF2B5EF4-FFF2-40B4-BE49-F238E27FC236}">
                  <a16:creationId xmlns:a16="http://schemas.microsoft.com/office/drawing/2014/main" id="{91607BA9-7A74-3F4E-8B06-EFFE068D7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315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400" b="0" i="0" kern="1200">
          <a:solidFill>
            <a:schemeClr val="tx1"/>
          </a:solidFill>
          <a:latin typeface="+mn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chemeClr val="tx1">
              <a:lumMod val="50000"/>
            </a:schemeClr>
          </a:solidFill>
          <a:latin typeface="+mn-lt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CD40CC-A845-3F4A-BE42-3BC45E77D4A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67981"/>
            <a:ext cx="12192001" cy="5900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1407E87-48A2-4741-BE05-4B7220DB8FF0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1DF4C4D-BF3C-764A-9A36-0AB2BB01C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3D4E6-424B-9644-9165-8985D24A76F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D5CCC59-47A2-4347-8B1C-1FAF05AE4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11425211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BAF46A5-C3E5-9041-910E-D93765F39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394" y="1230694"/>
            <a:ext cx="11425209" cy="4645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DD9D6A-CB4A-3645-A68F-D742A2AECBA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4F6CDEF9-400F-F44D-903E-89A278FF4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1867901-FAC4-4B4F-841D-250274CD9F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522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arge, door, covered, standing&#10;&#10;Description automatically generated">
            <a:extLst>
              <a:ext uri="{FF2B5EF4-FFF2-40B4-BE49-F238E27FC236}">
                <a16:creationId xmlns:a16="http://schemas.microsoft.com/office/drawing/2014/main" id="{3F8E0A54-00FA-474D-8B63-5A0C5983B44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9674"/>
            <a:ext cx="12191997" cy="59832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5ECDCD-249A-BF45-8354-8498C1C971E8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5CFD7D5-0110-9747-BC20-D2233D78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B8E3DF-6BF0-EE49-A8F4-8332B721608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F1D3441-33E0-1A47-A76C-7341FBCD4441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08F3BAB7-BEFC-7749-8C65-8D5090C3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9803BD48-5FDE-AC43-A6BF-0206A2118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91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49B2BA5-96E4-444F-86F5-83B9B6AAB233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7979"/>
            <a:ext cx="12192000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13764B-55B6-2D4C-ADAF-1F8FA95B3C43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44563C5-9D53-6A4F-8CB2-9596A9EF0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D0F36F-683B-324E-806B-E3E999BB069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66A663-A352-7A41-81C0-C73D438DBC12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1" name="Picture 20" descr="A close up of a sign&#10;&#10;Description automatically generated">
              <a:extLst>
                <a:ext uri="{FF2B5EF4-FFF2-40B4-BE49-F238E27FC236}">
                  <a16:creationId xmlns:a16="http://schemas.microsoft.com/office/drawing/2014/main" id="{627D1402-AB26-B943-82DF-010E4BE755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DD33F590-3592-B345-B9DB-BB6B1C61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254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5A2FBBD-990F-1B4D-B0A2-F850404766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67979"/>
            <a:ext cx="12192001" cy="59002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B8313-9F52-0745-B4E7-EA2880641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3395" y="5926369"/>
            <a:ext cx="11425211" cy="3061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96" y="204645"/>
            <a:ext cx="11414904" cy="684355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idx="1"/>
          </p:nvPr>
        </p:nvSpPr>
        <p:spPr>
          <a:xfrm>
            <a:off x="383395" y="1342769"/>
            <a:ext cx="11425211" cy="4546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3072AD-A548-464D-89E9-48753E336521}"/>
              </a:ext>
            </a:extLst>
          </p:cNvPr>
          <p:cNvSpPr/>
          <p:nvPr/>
        </p:nvSpPr>
        <p:spPr>
          <a:xfrm>
            <a:off x="5159688" y="6488347"/>
            <a:ext cx="1872629" cy="25654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algn="ctr" defTabSz="609585" rtl="0" eaLnBrk="1" latinLnBrk="0" hangingPunct="1"/>
            <a:r>
              <a:rPr lang="en-US" sz="1067">
                <a:solidFill>
                  <a:schemeClr val="bg1"/>
                </a:solidFill>
              </a:rPr>
              <a:t>Confidential and Proprietary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2655957-7B29-6245-B2C2-012D8C74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AD6BAA4E-5F47-E640-8B90-67FB6D90528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709E6-BCF3-7345-8BF0-E158D5973F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07" y="6350767"/>
            <a:ext cx="2413101" cy="43425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748DE1C-9F93-4747-B023-F19C3936A61E}"/>
              </a:ext>
            </a:extLst>
          </p:cNvPr>
          <p:cNvGrpSpPr/>
          <p:nvPr/>
        </p:nvGrpSpPr>
        <p:grpSpPr>
          <a:xfrm>
            <a:off x="10672234" y="6392334"/>
            <a:ext cx="1150623" cy="385495"/>
            <a:chOff x="8004175" y="4794250"/>
            <a:chExt cx="862967" cy="289121"/>
          </a:xfrm>
        </p:grpSpPr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303D4F13-F673-1647-AA82-96735DF7D8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1996"/>
            <a:stretch/>
          </p:blipFill>
          <p:spPr>
            <a:xfrm>
              <a:off x="8191500" y="4794250"/>
              <a:ext cx="675642" cy="289121"/>
            </a:xfrm>
            <a:prstGeom prst="rect">
              <a:avLst/>
            </a:prstGeom>
          </p:spPr>
        </p:pic>
        <p:pic>
          <p:nvPicPr>
            <p:cNvPr id="23" name="Picture 22" descr="A close up of a sign&#10;&#10;Description automatically generated">
              <a:extLst>
                <a:ext uri="{FF2B5EF4-FFF2-40B4-BE49-F238E27FC236}">
                  <a16:creationId xmlns:a16="http://schemas.microsoft.com/office/drawing/2014/main" id="{D98D1285-1942-6E4F-B5AD-766EC960C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69" r="78004"/>
            <a:stretch/>
          </p:blipFill>
          <p:spPr>
            <a:xfrm>
              <a:off x="8004175" y="4794250"/>
              <a:ext cx="187325" cy="289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80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ransition>
    <p:fade/>
  </p:transition>
  <p:hf hdr="0" ftr="0" dt="0"/>
  <p:txStyles>
    <p:titleStyle>
      <a:lvl1pPr algn="l" defTabSz="609585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3733" b="1" i="0" kern="1200">
          <a:solidFill>
            <a:schemeClr val="accent1"/>
          </a:solidFill>
          <a:latin typeface="+mj-lt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Tx/>
        <a:buNone/>
        <a:defRPr sz="2667" b="0" i="0" kern="1200">
          <a:solidFill>
            <a:schemeClr val="tx1"/>
          </a:solidFill>
          <a:latin typeface="+mj-lt"/>
          <a:ea typeface="Helvetica Neue Thin" panose="020B0403020202020204" pitchFamily="34" charset="0"/>
          <a:cs typeface="+mn-cs"/>
        </a:defRPr>
      </a:lvl1pPr>
      <a:lvl2pPr marL="160863" indent="-1608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 baseline="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2pPr>
      <a:lvl3pPr marL="459306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2133" b="0" i="0" kern="1200">
          <a:solidFill>
            <a:schemeClr val="tx1">
              <a:lumMod val="50000"/>
            </a:schemeClr>
          </a:solidFill>
          <a:latin typeface="+mj-lt"/>
          <a:ea typeface="Helvetica Neue Thin" panose="020B0403020202020204" pitchFamily="34" charset="0"/>
          <a:cs typeface="+mn-cs"/>
        </a:defRPr>
      </a:lvl3pPr>
      <a:lvl4pPr marL="764098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8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4pPr>
      <a:lvl5pPr marL="1066773" indent="-148163" algn="l" defTabSz="609585" rtl="0" eaLnBrk="1" latinLnBrk="0" hangingPunct="1">
        <a:lnSpc>
          <a:spcPct val="95000"/>
        </a:lnSpc>
        <a:spcBef>
          <a:spcPts val="4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Helvetica Neue Thin" panose="020B0403020202020204" pitchFamily="34" charset="0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">
          <p15:clr>
            <a:srgbClr val="F26B43"/>
          </p15:clr>
        </p15:guide>
        <p15:guide id="2" pos="2880">
          <p15:clr>
            <a:srgbClr val="F26B43"/>
          </p15:clr>
        </p15:guide>
        <p15:guide id="3" pos="240">
          <p15:clr>
            <a:srgbClr val="F26B43"/>
          </p15:clr>
        </p15:guide>
        <p15:guide id="4" orient="horz" pos="630">
          <p15:clr>
            <a:srgbClr val="F26B43"/>
          </p15:clr>
        </p15:guide>
        <p15:guide id="6" pos="5580">
          <p15:clr>
            <a:srgbClr val="F26B43"/>
          </p15:clr>
        </p15:guide>
        <p15:guide id="7" orient="horz" pos="336">
          <p15:clr>
            <a:srgbClr val="F26B43"/>
          </p15:clr>
        </p15:guide>
        <p15:guide id="8" orient="horz" pos="3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6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74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9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06.emf"/><Relationship Id="rId5" Type="http://schemas.openxmlformats.org/officeDocument/2006/relationships/image" Target="../media/image7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10.jpe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7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6"/>
            <a:ext cx="4465469" cy="1373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 Gao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Mar 14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Cross-Cells/Cross-Experiment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R4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4AAE88-D027-3A7F-9620-253C53A39D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4" y="1152746"/>
            <a:ext cx="5916202" cy="4190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B45804-5724-3261-8881-2B83F019C0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975" y="1198983"/>
            <a:ext cx="5850927" cy="414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392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MultiQ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10540-D3EE-949D-08AC-9226660C41CC}"/>
              </a:ext>
            </a:extLst>
          </p:cNvPr>
          <p:cNvSpPr txBox="1"/>
          <p:nvPr/>
        </p:nvSpPr>
        <p:spPr>
          <a:xfrm>
            <a:off x="341745" y="5815696"/>
            <a:ext cx="73798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/Users/zgao1/Documents/RNAseq/TST11955_BACK/QC/MultiQC Report_TST11955.html </a:t>
            </a:r>
            <a:endParaRPr lang="en-US" dirty="0"/>
          </a:p>
        </p:txBody>
      </p:sp>
      <p:pic>
        <p:nvPicPr>
          <p:cNvPr id="4" name="Picture 3" descr="Chart, bar chart, surface chart&#10;&#10;Description automatically generated">
            <a:extLst>
              <a:ext uri="{FF2B5EF4-FFF2-40B4-BE49-F238E27FC236}">
                <a16:creationId xmlns:a16="http://schemas.microsoft.com/office/drawing/2014/main" id="{52E9EE64-1AB0-123F-9D9A-71F3206911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51" y="1257335"/>
            <a:ext cx="5382087" cy="455836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C8CB2CFF-0EDB-BD09-90F3-C5FF36F98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362" y="1257334"/>
            <a:ext cx="3010187" cy="51988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284370-33E7-5E8A-B5D0-979A2F72AA04}"/>
              </a:ext>
            </a:extLst>
          </p:cNvPr>
          <p:cNvSpPr txBox="1"/>
          <p:nvPr/>
        </p:nvSpPr>
        <p:spPr>
          <a:xfrm>
            <a:off x="2364510" y="835943"/>
            <a:ext cx="1403013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32FF"/>
                </a:solidFill>
              </a:rPr>
              <a:t>Total Re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CFE499-DE20-A1A9-8C50-7F6F2608BE20}"/>
              </a:ext>
            </a:extLst>
          </p:cNvPr>
          <p:cNvSpPr txBox="1"/>
          <p:nvPr/>
        </p:nvSpPr>
        <p:spPr>
          <a:xfrm>
            <a:off x="8109679" y="835943"/>
            <a:ext cx="3412794" cy="369332"/>
          </a:xfrm>
          <a:prstGeom prst="rect">
            <a:avLst/>
          </a:prstGeom>
          <a:noFill/>
          <a:ln w="19050"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b="0" i="0" dirty="0">
                <a:solidFill>
                  <a:srgbClr val="0432FF"/>
                </a:solidFill>
                <a:effectLst/>
                <a:latin typeface="Helvetica Neue" panose="02000503000000020004" pitchFamily="2" charset="0"/>
              </a:rPr>
              <a:t>Overrepresented Sequences %</a:t>
            </a:r>
            <a:endParaRPr lang="en-US" dirty="0">
              <a:solidFill>
                <a:srgbClr val="0432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311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450901-49E8-11FC-9199-AF4436EE8526}"/>
              </a:ext>
            </a:extLst>
          </p:cNvPr>
          <p:cNvSpPr txBox="1"/>
          <p:nvPr/>
        </p:nvSpPr>
        <p:spPr>
          <a:xfrm>
            <a:off x="507303" y="723321"/>
            <a:ext cx="1146468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4 repea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69A65C-4111-B527-E074-FFF496E857C7}"/>
              </a:ext>
            </a:extLst>
          </p:cNvPr>
          <p:cNvSpPr txBox="1"/>
          <p:nvPr/>
        </p:nvSpPr>
        <p:spPr>
          <a:xfrm>
            <a:off x="6836299" y="723321"/>
            <a:ext cx="2018501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3 repeats (No R4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0557C5-450C-83AE-A293-643C0EF36ECA}"/>
              </a:ext>
            </a:extLst>
          </p:cNvPr>
          <p:cNvSpPr/>
          <p:nvPr/>
        </p:nvSpPr>
        <p:spPr>
          <a:xfrm>
            <a:off x="1747158" y="1747158"/>
            <a:ext cx="1545772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0067A8-01B5-12DF-9C2A-EB37C66F2A8C}"/>
              </a:ext>
            </a:extLst>
          </p:cNvPr>
          <p:cNvSpPr/>
          <p:nvPr/>
        </p:nvSpPr>
        <p:spPr>
          <a:xfrm>
            <a:off x="3875315" y="1741716"/>
            <a:ext cx="1028699" cy="87085"/>
          </a:xfrm>
          <a:prstGeom prst="rect">
            <a:avLst/>
          </a:prstGeom>
          <a:noFill/>
          <a:ln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64C412-3408-F51F-2D77-3BAA52456384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 (4 vs 3 Repeats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6268116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8D697E35-F3E5-CA59-62F7-C19FE2073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04" y="1003396"/>
            <a:ext cx="4631069" cy="4994641"/>
          </a:xfrm>
          <a:prstGeom prst="rect">
            <a:avLst/>
          </a:prstGeom>
        </p:spPr>
      </p:pic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47852B4E-9E9F-D2FB-922F-2009808E41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8" b="70854"/>
          <a:stretch/>
        </p:blipFill>
        <p:spPr>
          <a:xfrm>
            <a:off x="6287982" y="852437"/>
            <a:ext cx="4661464" cy="8065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C94C23B-4D18-8E4E-3EA5-409C95F5A316}"/>
              </a:ext>
            </a:extLst>
          </p:cNvPr>
          <p:cNvSpPr txBox="1">
            <a:spLocks/>
          </p:cNvSpPr>
          <p:nvPr/>
        </p:nvSpPr>
        <p:spPr>
          <a:xfrm>
            <a:off x="4233" y="-29047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chemeClr val="bg1"/>
                </a:solidFill>
              </a:rPr>
              <a:t>sashimi-plots: HTT gene in 1</a:t>
            </a:r>
            <a:r>
              <a:rPr lang="en-US" b="0" baseline="30000" dirty="0">
                <a:solidFill>
                  <a:schemeClr val="bg1"/>
                </a:solidFill>
              </a:rPr>
              <a:t>st</a:t>
            </a:r>
            <a:r>
              <a:rPr lang="en-US" b="0" dirty="0">
                <a:solidFill>
                  <a:schemeClr val="bg1"/>
                </a:solidFill>
              </a:rPr>
              <a:t> and 2</a:t>
            </a:r>
            <a:r>
              <a:rPr lang="en-US" b="0" baseline="30000" dirty="0">
                <a:solidFill>
                  <a:schemeClr val="bg1"/>
                </a:solidFill>
              </a:rPr>
              <a:t>nd</a:t>
            </a:r>
            <a:r>
              <a:rPr lang="en-US" b="0" dirty="0">
                <a:solidFill>
                  <a:schemeClr val="bg1"/>
                </a:solidFill>
              </a:rPr>
              <a:t> 6152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9A3391C-2375-851F-5288-CD6D3F61A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4" t="76103" r="1"/>
          <a:stretch/>
        </p:blipFill>
        <p:spPr>
          <a:xfrm>
            <a:off x="6272786" y="4804490"/>
            <a:ext cx="4691857" cy="1193547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E8A352-7B52-591C-D897-8B8FBF3D99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7" b="40052"/>
          <a:stretch/>
        </p:blipFill>
        <p:spPr>
          <a:xfrm>
            <a:off x="6333577" y="4042188"/>
            <a:ext cx="4631068" cy="693812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B422B17-EEB0-D1AE-5B64-255489F592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0" t="59807" r="110" b="24044"/>
          <a:stretch/>
        </p:blipFill>
        <p:spPr>
          <a:xfrm>
            <a:off x="6303182" y="3215306"/>
            <a:ext cx="4661464" cy="806557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B1BF1876-E2EA-F9EE-CFC8-1CFFEA898F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b="85218"/>
          <a:stretch/>
        </p:blipFill>
        <p:spPr>
          <a:xfrm>
            <a:off x="6333577" y="1797151"/>
            <a:ext cx="4631070" cy="738327"/>
          </a:xfrm>
          <a:prstGeom prst="rect">
            <a:avLst/>
          </a:prstGeom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9CF6FCA9-0167-8D45-2A49-2602987DDF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31" b="54195"/>
          <a:stretch/>
        </p:blipFill>
        <p:spPr>
          <a:xfrm>
            <a:off x="6303182" y="2476979"/>
            <a:ext cx="4661464" cy="85107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1048CAD-61E0-AE14-6958-BB045817B40A}"/>
              </a:ext>
            </a:extLst>
          </p:cNvPr>
          <p:cNvSpPr/>
          <p:nvPr/>
        </p:nvSpPr>
        <p:spPr>
          <a:xfrm>
            <a:off x="283029" y="920295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8687-C9E2-CFD8-4162-FFB6C81F5AE4}"/>
              </a:ext>
            </a:extLst>
          </p:cNvPr>
          <p:cNvSpPr/>
          <p:nvPr/>
        </p:nvSpPr>
        <p:spPr>
          <a:xfrm>
            <a:off x="283028" y="1730139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6CB9F-11D8-8166-BDFB-F1FFA1148993}"/>
              </a:ext>
            </a:extLst>
          </p:cNvPr>
          <p:cNvSpPr/>
          <p:nvPr/>
        </p:nvSpPr>
        <p:spPr>
          <a:xfrm>
            <a:off x="303989" y="3271201"/>
            <a:ext cx="11108871" cy="75066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80A304-1DF4-5773-1D1F-E3A2F7F3FEC4}"/>
              </a:ext>
            </a:extLst>
          </p:cNvPr>
          <p:cNvSpPr/>
          <p:nvPr/>
        </p:nvSpPr>
        <p:spPr>
          <a:xfrm>
            <a:off x="303989" y="4077758"/>
            <a:ext cx="11108871" cy="750662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C32FE8-6F6B-5977-0FF2-00279462FFD7}"/>
              </a:ext>
            </a:extLst>
          </p:cNvPr>
          <p:cNvSpPr txBox="1"/>
          <p:nvPr/>
        </p:nvSpPr>
        <p:spPr>
          <a:xfrm>
            <a:off x="55244" y="94227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6070C2-D2C4-14F9-9698-1B5C72EC6AB4}"/>
              </a:ext>
            </a:extLst>
          </p:cNvPr>
          <p:cNvSpPr txBox="1"/>
          <p:nvPr/>
        </p:nvSpPr>
        <p:spPr>
          <a:xfrm>
            <a:off x="55244" y="1764693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D497EA6-4A96-9A54-1CF8-E0613CB5CA9F}"/>
              </a:ext>
            </a:extLst>
          </p:cNvPr>
          <p:cNvSpPr txBox="1"/>
          <p:nvPr/>
        </p:nvSpPr>
        <p:spPr>
          <a:xfrm>
            <a:off x="55244" y="3301462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1256DD-8BCA-D9BB-C62D-7183F547AAC2}"/>
              </a:ext>
            </a:extLst>
          </p:cNvPr>
          <p:cNvSpPr txBox="1"/>
          <p:nvPr/>
        </p:nvSpPr>
        <p:spPr>
          <a:xfrm>
            <a:off x="54998" y="4136424"/>
            <a:ext cx="312906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833834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E7762930-BC9E-30F1-F50F-EDDE375D4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41" y="1122647"/>
            <a:ext cx="2931407" cy="2995782"/>
          </a:xfrm>
          <a:prstGeom prst="rect">
            <a:avLst/>
          </a:prstGeom>
        </p:spPr>
      </p:pic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4FE9ED7E-A986-467F-2651-D589A7E451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5" b="13592"/>
          <a:stretch/>
        </p:blipFill>
        <p:spPr>
          <a:xfrm>
            <a:off x="6825342" y="3739244"/>
            <a:ext cx="5366657" cy="2710543"/>
          </a:xfrm>
          <a:prstGeom prst="rect">
            <a:avLst/>
          </a:prstGeom>
        </p:spPr>
      </p:pic>
      <p:pic>
        <p:nvPicPr>
          <p:cNvPr id="14" name="Picture 13" descr="Chart, bar chart&#10;&#10;Description automatically generated">
            <a:extLst>
              <a:ext uri="{FF2B5EF4-FFF2-40B4-BE49-F238E27FC236}">
                <a16:creationId xmlns:a16="http://schemas.microsoft.com/office/drawing/2014/main" id="{AC19FD33-4BB7-0D84-B7CF-FC3B1FB771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474" y="1122647"/>
            <a:ext cx="5366657" cy="3074845"/>
          </a:xfrm>
          <a:prstGeom prst="rect">
            <a:avLst/>
          </a:prstGeom>
        </p:spPr>
      </p:pic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2968F8F-F9C8-67A5-0F05-140AA938A5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91"/>
          <a:stretch/>
        </p:blipFill>
        <p:spPr>
          <a:xfrm>
            <a:off x="1387626" y="3739244"/>
            <a:ext cx="4387245" cy="26234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F5F37D-060F-37D6-1286-73D31A966A0A}"/>
              </a:ext>
            </a:extLst>
          </p:cNvPr>
          <p:cNvSpPr txBox="1"/>
          <p:nvPr/>
        </p:nvSpPr>
        <p:spPr>
          <a:xfrm>
            <a:off x="326571" y="1311729"/>
            <a:ext cx="1023037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0AB5FD-9F78-D101-CF9E-056B94A58C1D}"/>
              </a:ext>
            </a:extLst>
          </p:cNvPr>
          <p:cNvSpPr txBox="1"/>
          <p:nvPr/>
        </p:nvSpPr>
        <p:spPr>
          <a:xfrm>
            <a:off x="326570" y="3933763"/>
            <a:ext cx="1138453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1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st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5009F6-40DE-163E-0C57-AD64F54F03C0}"/>
              </a:ext>
            </a:extLst>
          </p:cNvPr>
          <p:cNvSpPr txBox="1"/>
          <p:nvPr/>
        </p:nvSpPr>
        <p:spPr>
          <a:xfrm>
            <a:off x="6537955" y="1311729"/>
            <a:ext cx="1072730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iP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787CC6-B65A-D172-B40C-5137DB3F5414}"/>
              </a:ext>
            </a:extLst>
          </p:cNvPr>
          <p:cNvSpPr txBox="1"/>
          <p:nvPr/>
        </p:nvSpPr>
        <p:spPr>
          <a:xfrm>
            <a:off x="6537955" y="3928326"/>
            <a:ext cx="1188146" cy="369332"/>
          </a:xfrm>
          <a:prstGeom prst="rect">
            <a:avLst/>
          </a:prstGeom>
          <a:noFill/>
          <a:ln>
            <a:solidFill>
              <a:srgbClr val="0432FF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n>
                  <a:solidFill>
                    <a:srgbClr val="0432FF"/>
                  </a:solidFill>
                </a:ln>
              </a:rPr>
              <a:t>2</a:t>
            </a:r>
            <a:r>
              <a:rPr lang="en-US" baseline="30000" dirty="0">
                <a:ln>
                  <a:solidFill>
                    <a:srgbClr val="0432FF"/>
                  </a:solidFill>
                </a:ln>
              </a:rPr>
              <a:t>nd</a:t>
            </a:r>
            <a:r>
              <a:rPr lang="en-US" dirty="0">
                <a:ln>
                  <a:solidFill>
                    <a:srgbClr val="0432FF"/>
                  </a:solidFill>
                </a:ln>
              </a:rPr>
              <a:t> NGN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E8A731-30DD-3ABA-BAA5-8E52C35DDCB8}"/>
              </a:ext>
            </a:extLst>
          </p:cNvPr>
          <p:cNvCxnSpPr>
            <a:cxnSpLocks/>
          </p:cNvCxnSpPr>
          <p:nvPr/>
        </p:nvCxnSpPr>
        <p:spPr>
          <a:xfrm flipV="1">
            <a:off x="5557157" y="2873829"/>
            <a:ext cx="0" cy="29943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BD471E-7413-B42D-5F6B-FC3DC6B6177E}"/>
              </a:ext>
            </a:extLst>
          </p:cNvPr>
          <p:cNvCxnSpPr>
            <a:cxnSpLocks/>
          </p:cNvCxnSpPr>
          <p:nvPr/>
        </p:nvCxnSpPr>
        <p:spPr>
          <a:xfrm flipV="1">
            <a:off x="10624830" y="2914095"/>
            <a:ext cx="0" cy="3075011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0C55BEE-EDCE-E3D0-AC2B-855F6A7CAA36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numbers of DSG induced by compounds (3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3715145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2909956"/>
              </p:ext>
            </p:extLst>
          </p:nvPr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7807"/>
              </p:ext>
            </p:extLst>
          </p:nvPr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90329"/>
              </p:ext>
            </p:extLst>
          </p:nvPr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Exp.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1230061" y="2970216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iPS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CD4EA0-35EB-42FE-0A39-9591C6258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783" y="550088"/>
            <a:ext cx="2458045" cy="24580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9F75B8-30F2-BDA3-BD94-4591A3B46E18}"/>
              </a:ext>
            </a:extLst>
          </p:cNvPr>
          <p:cNvSpPr txBox="1"/>
          <p:nvPr/>
        </p:nvSpPr>
        <p:spPr>
          <a:xfrm>
            <a:off x="1275065" y="577745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3x in NGN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0C5F3C-A74C-C08F-AF84-4C793EDE23AF}"/>
              </a:ext>
            </a:extLst>
          </p:cNvPr>
          <p:cNvSpPr txBox="1"/>
          <p:nvPr/>
        </p:nvSpPr>
        <p:spPr>
          <a:xfrm>
            <a:off x="6828221" y="297021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iPS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BA807B-3F09-6079-2B9B-E029A959A591}"/>
              </a:ext>
            </a:extLst>
          </p:cNvPr>
          <p:cNvSpPr txBox="1"/>
          <p:nvPr/>
        </p:nvSpPr>
        <p:spPr>
          <a:xfrm>
            <a:off x="6928343" y="5894362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exp. of 6152-10x in NGN2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2207A1D-66B2-F901-4161-D61E0769A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951" y="415402"/>
            <a:ext cx="2394068" cy="239406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48393-1D1B-3942-7E87-339BF76BD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44" y="3284736"/>
            <a:ext cx="2458044" cy="24580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38F5BFA-1AE5-506C-F4C7-98ECA4A8A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629" y="3500294"/>
            <a:ext cx="2549718" cy="23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522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331502" y="2899096"/>
            <a:ext cx="3860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iPS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EF07C8-F75D-44D7-17C2-F94B6EDDC0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94" y="546822"/>
            <a:ext cx="5075063" cy="558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2982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6776735" y="2986730"/>
            <a:ext cx="3988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iPS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5F91B5-FA23-FDDF-AE0C-CE846931C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14" y="546822"/>
            <a:ext cx="5134000" cy="561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47835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3975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3x in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B4DC7-9A78-97BC-F6C7-1890FD968A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32" y="546822"/>
            <a:ext cx="5326695" cy="55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2409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r>
              <a:rPr lang="en-US" sz="2200" dirty="0">
                <a:cs typeface="Arial"/>
              </a:rPr>
              <a:t>Sep 26, 2022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r>
              <a:rPr lang="en-US" sz="2200" i="1" dirty="0">
                <a:latin typeface="Arial"/>
                <a:cs typeface="Arial"/>
              </a:rPr>
              <a:t>Zhen, Dann, Catherine, Joon, Magnus, Jessica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verlapped DSG (</a:t>
            </a:r>
            <a:r>
              <a:rPr lang="en-US" sz="2000" dirty="0">
                <a:solidFill>
                  <a:srgbClr val="0432FF"/>
                </a:solidFill>
              </a:rPr>
              <a:t>1</a:t>
            </a:r>
            <a:r>
              <a:rPr lang="en-US" sz="2000" baseline="30000" dirty="0">
                <a:solidFill>
                  <a:srgbClr val="0432FF"/>
                </a:solidFill>
              </a:rPr>
              <a:t>st</a:t>
            </a:r>
            <a:r>
              <a:rPr lang="en-US" sz="2000" dirty="0">
                <a:solidFill>
                  <a:srgbClr val="0432FF"/>
                </a:solidFill>
              </a:rPr>
              <a:t> and 2</a:t>
            </a:r>
            <a:r>
              <a:rPr lang="en-US" sz="2000" baseline="30000" dirty="0">
                <a:solidFill>
                  <a:srgbClr val="0432FF"/>
                </a:solidFill>
              </a:rPr>
              <a:t>nd</a:t>
            </a:r>
            <a:r>
              <a:rPr lang="en-US" sz="2000" dirty="0">
                <a:solidFill>
                  <a:srgbClr val="0432FF"/>
                </a:solidFill>
              </a:rPr>
              <a:t> batch mutual support</a:t>
            </a:r>
            <a:r>
              <a:rPr lang="en-US" sz="20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478461" y="2899096"/>
            <a:ext cx="4104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1</a:t>
            </a:r>
            <a:r>
              <a:rPr lang="en-US" baseline="30000" dirty="0">
                <a:solidFill>
                  <a:srgbClr val="1A3DFF"/>
                </a:solidFill>
              </a:rPr>
              <a:t>st</a:t>
            </a:r>
            <a:r>
              <a:rPr lang="en-US" dirty="0">
                <a:solidFill>
                  <a:srgbClr val="1A3DFF"/>
                </a:solidFill>
              </a:rPr>
              <a:t> and 2</a:t>
            </a:r>
            <a:r>
              <a:rPr lang="en-US" baseline="30000" dirty="0">
                <a:solidFill>
                  <a:srgbClr val="1A3DFF"/>
                </a:solidFill>
              </a:rPr>
              <a:t>nd</a:t>
            </a:r>
            <a:r>
              <a:rPr lang="en-US" dirty="0">
                <a:solidFill>
                  <a:srgbClr val="1A3DFF"/>
                </a:solidFill>
              </a:rPr>
              <a:t> batch of 6152-10x in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2B7C1-3FCA-0071-6BDE-8E0ED40BD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43" y="680720"/>
            <a:ext cx="6025243" cy="518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6456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-13607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clusion and Next Step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anked the compounds have fewer off-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howed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) </a:t>
            </a:r>
            <a:endParaRPr lang="en-US" sz="2200" dirty="0"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43205B-A9CB-075D-83BD-63928EF3AB15}"/>
              </a:ext>
            </a:extLst>
          </p:cNvPr>
          <p:cNvSpPr txBox="1"/>
          <p:nvPr/>
        </p:nvSpPr>
        <p:spPr>
          <a:xfrm>
            <a:off x="248204" y="4311872"/>
            <a:ext cx="6096000" cy="1579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clinical Safety Assessment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v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80E7E69-24E2-715F-1358-BA0367E07A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93" y="1344604"/>
            <a:ext cx="11282175" cy="48514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773793-2E6A-B3B8-A6D2-960E5B607C1A}"/>
              </a:ext>
            </a:extLst>
          </p:cNvPr>
          <p:cNvSpPr/>
          <p:nvPr/>
        </p:nvSpPr>
        <p:spPr>
          <a:xfrm>
            <a:off x="3336471" y="1285173"/>
            <a:ext cx="1518557" cy="3774842"/>
          </a:xfrm>
          <a:prstGeom prst="rect">
            <a:avLst/>
          </a:prstGeom>
          <a:noFill/>
          <a:ln w="19050">
            <a:solidFill>
              <a:srgbClr val="0432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1A9BFD-A2A9-8603-E0C6-82087697F6D9}"/>
              </a:ext>
            </a:extLst>
          </p:cNvPr>
          <p:cNvSpPr/>
          <p:nvPr/>
        </p:nvSpPr>
        <p:spPr>
          <a:xfrm>
            <a:off x="1861456" y="1285173"/>
            <a:ext cx="1475015" cy="49802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70822DD-F1D0-B97F-C707-F6C4742E85F4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</a:rPr>
              <a:t>The details DSG induced by compounds (3x &amp; 10x)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563578-EC95-1E41-8208-BF82E9A5A5CB}"/>
              </a:ext>
            </a:extLst>
          </p:cNvPr>
          <p:cNvSpPr txBox="1"/>
          <p:nvPr/>
        </p:nvSpPr>
        <p:spPr>
          <a:xfrm>
            <a:off x="1105973" y="861571"/>
            <a:ext cx="49936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6152 1st iPSC &amp; NGN2 and 2nd iPSC &amp; NGN2</a:t>
            </a:r>
          </a:p>
        </p:txBody>
      </p:sp>
    </p:spTree>
    <p:extLst>
      <p:ext uri="{BB962C8B-B14F-4D97-AF65-F5344CB8AC3E}">
        <p14:creationId xmlns:p14="http://schemas.microsoft.com/office/powerpoint/2010/main" val="269297974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834501" y="148243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everyone!</a:t>
            </a:r>
          </a:p>
        </p:txBody>
      </p:sp>
      <p:pic>
        <p:nvPicPr>
          <p:cNvPr id="3" name="Picture 2" descr="Welcome 2023 vector t-shirt design,Happy New Year SVG PNG PDF, New Year  Shirt Svg,">
            <a:extLst>
              <a:ext uri="{FF2B5EF4-FFF2-40B4-BE49-F238E27FC236}">
                <a16:creationId xmlns:a16="http://schemas.microsoft.com/office/drawing/2014/main" id="{C127933A-B263-72E9-DBE8-2D37AADF38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0" r="20514" b="15610"/>
          <a:stretch/>
        </p:blipFill>
        <p:spPr bwMode="auto">
          <a:xfrm>
            <a:off x="5696072" y="997395"/>
            <a:ext cx="5281165" cy="486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457446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 gues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/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t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TC5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53863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, ~</a:t>
                      </a: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TC-5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32194"/>
              </p:ext>
            </p:extLst>
          </p:nvPr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97B296AC-5CD2-E00D-4F10-159CC623A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21481"/>
              </p:ext>
            </p:extLst>
          </p:nvPr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ABAB29AB-6149-8D41-AAFC-F1B037CAD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52742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1</a:t>
            </a:r>
            <a:r>
              <a:rPr lang="en-US" sz="1600" baseline="30000" dirty="0">
                <a:solidFill>
                  <a:schemeClr val="accent5"/>
                </a:solidFill>
              </a:rPr>
              <a:t>st</a:t>
            </a:r>
            <a:r>
              <a:rPr lang="en-US" sz="1600" dirty="0">
                <a:solidFill>
                  <a:schemeClr val="accent5"/>
                </a:solidFill>
              </a:rPr>
              <a:t> exp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93056A-5E74-6747-92B1-3DF6D2689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693" y="1198983"/>
            <a:ext cx="5842347" cy="4525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5F3A94-CF2E-684A-953C-87E59C8CE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2" y="1152746"/>
            <a:ext cx="5594287" cy="4525701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53F5F5D-0737-8E04-1B54-87D405C9922A}"/>
              </a:ext>
            </a:extLst>
          </p:cNvPr>
          <p:cNvSpPr/>
          <p:nvPr/>
        </p:nvSpPr>
        <p:spPr>
          <a:xfrm>
            <a:off x="1300480" y="2956560"/>
            <a:ext cx="558800" cy="56896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CF240E-E810-135E-E309-9625796CD542}"/>
              </a:ext>
            </a:extLst>
          </p:cNvPr>
          <p:cNvSpPr/>
          <p:nvPr/>
        </p:nvSpPr>
        <p:spPr>
          <a:xfrm>
            <a:off x="7355666" y="4958080"/>
            <a:ext cx="3840654" cy="40640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00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7587787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1430AD-AC38-B1CA-870F-E1713DAE6E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106508"/>
            <a:ext cx="5315051" cy="45257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A423CB-6A7A-A4DD-2C6A-B8F9F4E50D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06" y="1106508"/>
            <a:ext cx="5442641" cy="45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93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204645"/>
            <a:ext cx="9504883" cy="227901"/>
          </a:xfrm>
        </p:spPr>
        <p:txBody>
          <a:bodyPr/>
          <a:lstStyle/>
          <a:p>
            <a:r>
              <a:rPr lang="en-US" sz="1600" dirty="0"/>
              <a:t>Sample similarity from Gene Expression </a:t>
            </a:r>
            <a:r>
              <a:rPr lang="en-US" sz="1600" dirty="0">
                <a:solidFill>
                  <a:schemeClr val="accent5"/>
                </a:solidFill>
              </a:rPr>
              <a:t>(2</a:t>
            </a:r>
            <a:r>
              <a:rPr lang="en-US" sz="1600" baseline="30000" dirty="0">
                <a:solidFill>
                  <a:schemeClr val="accent5"/>
                </a:solidFill>
              </a:rPr>
              <a:t>nd</a:t>
            </a:r>
            <a:r>
              <a:rPr lang="en-US" sz="1600" dirty="0">
                <a:solidFill>
                  <a:schemeClr val="accent5"/>
                </a:solidFill>
              </a:rPr>
              <a:t>  exp raw after removal of low-quality sample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92BA944-F994-2845-A61D-AF8BD0CBBA30}"/>
              </a:ext>
            </a:extLst>
          </p:cNvPr>
          <p:cNvSpPr txBox="1">
            <a:spLocks/>
          </p:cNvSpPr>
          <p:nvPr/>
        </p:nvSpPr>
        <p:spPr>
          <a:xfrm>
            <a:off x="383397" y="655577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iPSC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CA0985-8E4C-AF45-9987-8D1765A504AD}"/>
              </a:ext>
            </a:extLst>
          </p:cNvPr>
          <p:cNvSpPr txBox="1">
            <a:spLocks/>
          </p:cNvSpPr>
          <p:nvPr/>
        </p:nvSpPr>
        <p:spPr>
          <a:xfrm>
            <a:off x="6459519" y="701814"/>
            <a:ext cx="3957110" cy="227901"/>
          </a:xfrm>
          <a:prstGeom prst="rect">
            <a:avLst/>
          </a:prstGeom>
        </p:spPr>
        <p:txBody>
          <a:bodyPr vert="horz" lIns="91440" tIns="45720" rIns="0" bIns="45720" rtlCol="0" anchor="t">
            <a:noAutofit/>
          </a:bodyPr>
          <a:lstStyle>
            <a:lvl1pPr algn="l" defTabSz="609585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3733" b="1" i="0" kern="1200">
                <a:solidFill>
                  <a:schemeClr val="tx2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sz="1200" dirty="0"/>
              <a:t>PCA in 2D for NGN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C197A2-8E61-AE36-F8AC-2708435EF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72" y="1025409"/>
            <a:ext cx="5551310" cy="45964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95EA49-E689-192A-A1D9-954F5E617A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19" y="1025409"/>
            <a:ext cx="5108703" cy="467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8259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Biogen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Biogen" id="{C56E6A37-F4D4-4064-88AD-6B864C2976FD}" vid="{D5F3D680-2624-4A2E-8627-C43B948B5BB7}"/>
    </a:ext>
  </a:extLst>
</a:theme>
</file>

<file path=ppt/theme/theme2.xml><?xml version="1.0" encoding="utf-8"?>
<a:theme xmlns:a="http://schemas.openxmlformats.org/drawingml/2006/main" name="2_Biogen_Whit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C4F5560A-D7BC-694A-AC0A-627E5DC798DB}"/>
    </a:ext>
  </a:extLst>
</a:theme>
</file>

<file path=ppt/theme/theme3.xml><?xml version="1.0" encoding="utf-8"?>
<a:theme xmlns:a="http://schemas.openxmlformats.org/drawingml/2006/main" name="3_Cover and Divider Options 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94594FBA-B0D2-5444-BA63-58F1E6B5698C}"/>
    </a:ext>
  </a:extLst>
</a:theme>
</file>

<file path=ppt/theme/theme4.xml><?xml version="1.0" encoding="utf-8"?>
<a:theme xmlns:a="http://schemas.openxmlformats.org/drawingml/2006/main" name="4_Multiple Sclerosi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B7EBAC1-131C-314C-8D72-C2F2ED777696}"/>
    </a:ext>
  </a:extLst>
</a:theme>
</file>

<file path=ppt/theme/theme5.xml><?xml version="1.0" encoding="utf-8"?>
<a:theme xmlns:a="http://schemas.openxmlformats.org/drawingml/2006/main" name="4_Spinal Muscular Atrophy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817CC593-05CE-6142-9DE9-9B9FCD4907B2}"/>
    </a:ext>
  </a:extLst>
</a:theme>
</file>

<file path=ppt/theme/theme6.xml><?xml version="1.0" encoding="utf-8"?>
<a:theme xmlns:a="http://schemas.openxmlformats.org/drawingml/2006/main" name="5_Alzheimer's Disease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6F8E6371-6A77-1B46-9F0A-B45AC484DBE7}"/>
    </a:ext>
  </a:extLst>
</a:theme>
</file>

<file path=ppt/theme/theme7.xml><?xml version="1.0" encoding="utf-8"?>
<a:theme xmlns:a="http://schemas.openxmlformats.org/drawingml/2006/main" name="6_Choroideremia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F904FADE-135F-FC4F-9A9B-654A46CE48DB}"/>
    </a:ext>
  </a:extLst>
</a:theme>
</file>

<file path=ppt/theme/theme8.xml><?xml version="1.0" encoding="utf-8"?>
<a:theme xmlns:a="http://schemas.openxmlformats.org/drawingml/2006/main" name="7_ALS">
  <a:themeElements>
    <a:clrScheme name="Biogen - NEW ">
      <a:dk1>
        <a:srgbClr val="363838"/>
      </a:dk1>
      <a:lt1>
        <a:srgbClr val="FFFFFF"/>
      </a:lt1>
      <a:dk2>
        <a:srgbClr val="005B82"/>
      </a:dk2>
      <a:lt2>
        <a:srgbClr val="578196"/>
      </a:lt2>
      <a:accent1>
        <a:srgbClr val="2473BA"/>
      </a:accent1>
      <a:accent2>
        <a:srgbClr val="6DAD46"/>
      </a:accent2>
      <a:accent3>
        <a:srgbClr val="510556"/>
      </a:accent3>
      <a:accent4>
        <a:srgbClr val="8A104C"/>
      </a:accent4>
      <a:accent5>
        <a:srgbClr val="C8411D"/>
      </a:accent5>
      <a:accent6>
        <a:srgbClr val="FF9900"/>
      </a:accent6>
      <a:hlink>
        <a:srgbClr val="7BC3E1"/>
      </a:hlink>
      <a:folHlink>
        <a:srgbClr val="7BC3E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573BA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bg1">
              <a:lumMod val="50000"/>
            </a:schemeClr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iogen_Campaign PPT Template_7.17.2020" id="{B045599E-4577-8948-8CB3-735A37F2EE93}" vid="{E7DA7861-8064-C840-8383-2075CE5ACE0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Biogen</Template>
  <TotalTime>14990</TotalTime>
  <Words>1067</Words>
  <Application>Microsoft Macintosh PowerPoint</Application>
  <PresentationFormat>Widescreen</PresentationFormat>
  <Paragraphs>391</Paragraphs>
  <Slides>2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43" baseType="lpstr">
      <vt:lpstr>System Font Regular</vt:lpstr>
      <vt:lpstr>Arial</vt:lpstr>
      <vt:lpstr>Arial Narrow</vt:lpstr>
      <vt:lpstr>Calibri</vt:lpstr>
      <vt:lpstr>Century Gothic</vt:lpstr>
      <vt:lpstr>Helvetica Neue</vt:lpstr>
      <vt:lpstr>Menlo</vt:lpstr>
      <vt:lpstr>Wingdings</vt:lpstr>
      <vt:lpstr>New Biogen</vt:lpstr>
      <vt:lpstr>2_Biogen_White</vt:lpstr>
      <vt:lpstr>3_Cover and Divider Options </vt:lpstr>
      <vt:lpstr>4_Multiple Sclerosis</vt:lpstr>
      <vt:lpstr>4_Spinal Muscular Atrophy</vt:lpstr>
      <vt:lpstr>5_Alzheimer's Disease</vt:lpstr>
      <vt:lpstr>6_Choroideremia</vt:lpstr>
      <vt:lpstr>7_ALS</vt:lpstr>
      <vt:lpstr>think-cell Slide</vt:lpstr>
      <vt:lpstr>CS ChemDraw Drawing</vt:lpstr>
      <vt:lpstr>Worksheet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Sample similarity from Gene Expression (1st exp)</vt:lpstr>
      <vt:lpstr>Sample similarity from Gene Expression (2nd  exp raw)</vt:lpstr>
      <vt:lpstr>Sample similarity from Gene Expression (2nd  exp raw after removal of low-quality samples)</vt:lpstr>
      <vt:lpstr>Sample similarity from Gene Expression (2nd  exp raw after removal of R4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lapped DSG (1st and 2nd Exp.)</vt:lpstr>
      <vt:lpstr>Overlapped DSG (1st and 2nd batch mutual support)</vt:lpstr>
      <vt:lpstr>Overlapped DSG (1st and 2nd batch mutual support)</vt:lpstr>
      <vt:lpstr>Overlapped DSG (1st and 2nd batch mutual support)</vt:lpstr>
      <vt:lpstr>Overlapped DSG (1st and 2nd batch mutual support)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S HTVT</dc:title>
  <dc:creator>Sandi Engle</dc:creator>
  <cp:lastModifiedBy>Zhen Gao</cp:lastModifiedBy>
  <cp:revision>57</cp:revision>
  <dcterms:created xsi:type="dcterms:W3CDTF">2021-06-27T14:47:41Z</dcterms:created>
  <dcterms:modified xsi:type="dcterms:W3CDTF">2023-03-14T20:51:18Z</dcterms:modified>
</cp:coreProperties>
</file>